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3"/>
  </p:notesMasterIdLst>
  <p:handoutMasterIdLst>
    <p:handoutMasterId r:id="rId4"/>
  </p:handoutMasterIdLst>
  <p:sldIdLst>
    <p:sldId id="259" r:id="rId2"/>
  </p:sldIdLst>
  <p:sldSz cx="9144000" cy="5143500" type="screen16x9"/>
  <p:notesSz cx="6845300" cy="9296400"/>
  <p:custDataLst>
    <p:tags r:id="rId5"/>
  </p:custDataLst>
  <p:defaultTextStyle>
    <a:defPPr>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 " initials=" " lastIdx="6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2A0C4B"/>
    <a:srgbClr val="0066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940675A-B579-460E-94D1-54222C63F5D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136" d="100"/>
          <a:sy n="136" d="100"/>
        </p:scale>
        <p:origin x="-222" y="-84"/>
      </p:cViewPr>
      <p:guideLst>
        <p:guide orient="horz" pos="270"/>
        <p:guide orient="horz" pos="2915"/>
        <p:guide orient="horz" pos="738"/>
        <p:guide pos="2880"/>
        <p:guide pos="270"/>
        <p:guide pos="5489"/>
      </p:guideLst>
    </p:cSldViewPr>
  </p:slideViewPr>
  <p:notesTextViewPr>
    <p:cViewPr>
      <p:scale>
        <a:sx n="100" d="100"/>
        <a:sy n="100" d="100"/>
      </p:scale>
      <p:origin x="0" y="0"/>
    </p:cViewPr>
  </p:notesTextViewPr>
  <p:sorterViewPr>
    <p:cViewPr>
      <p:scale>
        <a:sx n="100" d="100"/>
        <a:sy n="100" d="100"/>
      </p:scale>
      <p:origin x="0" y="0"/>
    </p:cViewPr>
  </p:sorterViewPr>
  <p:notesViewPr>
    <p:cSldViewPr showGuides="1">
      <p:cViewPr varScale="1">
        <p:scale>
          <a:sx n="80" d="100"/>
          <a:sy n="80" d="100"/>
        </p:scale>
        <p:origin x="-3888" y="-90"/>
      </p:cViewPr>
      <p:guideLst>
        <p:guide orient="horz" pos="2928"/>
        <p:guide pos="2156"/>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notesMaster" Target="notesMasters/notesMaster1.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commentAuthors" Target="commentAuthors.xml"/><Relationship Id="rId5" Type="http://schemas.openxmlformats.org/officeDocument/2006/relationships/tags" Target="tags/tag1.xml"/><Relationship Id="rId10" Type="http://schemas.openxmlformats.org/officeDocument/2006/relationships/tableStyles" Target="tableStyles.xml"/><Relationship Id="rId4" Type="http://schemas.openxmlformats.org/officeDocument/2006/relationships/handoutMaster" Target="handoutMasters/handout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66297" cy="464820"/>
          </a:xfrm>
          <a:prstGeom prst="rect">
            <a:avLst/>
          </a:prstGeom>
        </p:spPr>
        <p:txBody>
          <a:bodyPr vert="horz" lIns="91440" tIns="45720" rIns="91440" bIns="45720" rtlCol="0"/>
          <a:lstStyle>
            <a:lvl1pPr algn="l">
              <a:defRPr sz="1200"/>
            </a:lvl1pPr>
          </a:lstStyle>
          <a:p>
            <a:endParaRPr lang="en-GB" dirty="0">
              <a:solidFill>
                <a:schemeClr val="tx2"/>
              </a:solidFill>
            </a:endParaRPr>
          </a:p>
        </p:txBody>
      </p:sp>
      <p:sp>
        <p:nvSpPr>
          <p:cNvPr id="3" name="Date Placeholder 2"/>
          <p:cNvSpPr>
            <a:spLocks noGrp="1"/>
          </p:cNvSpPr>
          <p:nvPr>
            <p:ph type="dt" sz="quarter" idx="1"/>
          </p:nvPr>
        </p:nvSpPr>
        <p:spPr>
          <a:xfrm>
            <a:off x="3877419" y="0"/>
            <a:ext cx="2966297" cy="464820"/>
          </a:xfrm>
          <a:prstGeom prst="rect">
            <a:avLst/>
          </a:prstGeom>
        </p:spPr>
        <p:txBody>
          <a:bodyPr vert="horz" lIns="91440" tIns="45720" rIns="91440" bIns="45720" rtlCol="0"/>
          <a:lstStyle>
            <a:lvl1pPr algn="r">
              <a:defRPr sz="1200"/>
            </a:lvl1pPr>
          </a:lstStyle>
          <a:p>
            <a:fld id="{B975E895-A812-407D-98E7-1F6D83BA666D}" type="datetimeFigureOut">
              <a:rPr lang="en-GB" smtClean="0">
                <a:solidFill>
                  <a:schemeClr val="tx2"/>
                </a:solidFill>
              </a:rPr>
              <a:t>17/02/2014</a:t>
            </a:fld>
            <a:endParaRPr lang="en-GB" dirty="0">
              <a:solidFill>
                <a:schemeClr val="tx2"/>
              </a:solidFill>
            </a:endParaRPr>
          </a:p>
        </p:txBody>
      </p:sp>
      <p:sp>
        <p:nvSpPr>
          <p:cNvPr id="4" name="Footer Placeholder 3"/>
          <p:cNvSpPr>
            <a:spLocks noGrp="1"/>
          </p:cNvSpPr>
          <p:nvPr>
            <p:ph type="ftr" sz="quarter" idx="2"/>
          </p:nvPr>
        </p:nvSpPr>
        <p:spPr>
          <a:xfrm>
            <a:off x="0" y="8829967"/>
            <a:ext cx="2966297" cy="464820"/>
          </a:xfrm>
          <a:prstGeom prst="rect">
            <a:avLst/>
          </a:prstGeom>
        </p:spPr>
        <p:txBody>
          <a:bodyPr vert="horz" lIns="91440" tIns="45720" rIns="91440" bIns="45720" rtlCol="0" anchor="b"/>
          <a:lstStyle>
            <a:lvl1pPr algn="l">
              <a:defRPr sz="1200"/>
            </a:lvl1pPr>
          </a:lstStyle>
          <a:p>
            <a:endParaRPr lang="en-GB" dirty="0">
              <a:solidFill>
                <a:schemeClr val="tx2"/>
              </a:solidFill>
            </a:endParaRPr>
          </a:p>
        </p:txBody>
      </p:sp>
      <p:sp>
        <p:nvSpPr>
          <p:cNvPr id="5" name="Slide Number Placeholder 4"/>
          <p:cNvSpPr>
            <a:spLocks noGrp="1"/>
          </p:cNvSpPr>
          <p:nvPr>
            <p:ph type="sldNum" sz="quarter" idx="3"/>
          </p:nvPr>
        </p:nvSpPr>
        <p:spPr>
          <a:xfrm>
            <a:off x="3877419" y="8829967"/>
            <a:ext cx="2966297" cy="464820"/>
          </a:xfrm>
          <a:prstGeom prst="rect">
            <a:avLst/>
          </a:prstGeom>
        </p:spPr>
        <p:txBody>
          <a:bodyPr vert="horz" lIns="91440" tIns="45720" rIns="91440" bIns="45720" rtlCol="0" anchor="b"/>
          <a:lstStyle>
            <a:lvl1pPr algn="r">
              <a:defRPr sz="1200"/>
            </a:lvl1pPr>
          </a:lstStyle>
          <a:p>
            <a:fld id="{2869C025-2725-493C-91FC-99F4148035BE}" type="slidenum">
              <a:rPr lang="en-GB" smtClean="0">
                <a:solidFill>
                  <a:schemeClr val="tx2"/>
                </a:solidFill>
              </a:rPr>
              <a:t>‹#›</a:t>
            </a:fld>
            <a:endParaRPr lang="en-GB" dirty="0">
              <a:solidFill>
                <a:schemeClr val="tx2"/>
              </a:solidFill>
            </a:endParaRPr>
          </a:p>
        </p:txBody>
      </p:sp>
    </p:spTree>
    <p:extLst>
      <p:ext uri="{BB962C8B-B14F-4D97-AF65-F5344CB8AC3E}">
        <p14:creationId xmlns:p14="http://schemas.microsoft.com/office/powerpoint/2010/main" val="13050088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66297" cy="464820"/>
          </a:xfrm>
          <a:prstGeom prst="rect">
            <a:avLst/>
          </a:prstGeom>
        </p:spPr>
        <p:txBody>
          <a:bodyPr vert="horz" lIns="91440" tIns="45720" rIns="91440" bIns="45720" rtlCol="0"/>
          <a:lstStyle>
            <a:lvl1pPr algn="l">
              <a:defRPr sz="1200">
                <a:solidFill>
                  <a:schemeClr val="tx2"/>
                </a:solidFill>
              </a:defRPr>
            </a:lvl1pPr>
          </a:lstStyle>
          <a:p>
            <a:endParaRPr lang="en-GB" dirty="0"/>
          </a:p>
        </p:txBody>
      </p:sp>
      <p:sp>
        <p:nvSpPr>
          <p:cNvPr id="3" name="Date Placeholder 2"/>
          <p:cNvSpPr>
            <a:spLocks noGrp="1"/>
          </p:cNvSpPr>
          <p:nvPr>
            <p:ph type="dt" idx="1"/>
          </p:nvPr>
        </p:nvSpPr>
        <p:spPr>
          <a:xfrm>
            <a:off x="3877419" y="0"/>
            <a:ext cx="2966297" cy="464820"/>
          </a:xfrm>
          <a:prstGeom prst="rect">
            <a:avLst/>
          </a:prstGeom>
        </p:spPr>
        <p:txBody>
          <a:bodyPr vert="horz" lIns="91440" tIns="45720" rIns="91440" bIns="45720" rtlCol="0"/>
          <a:lstStyle>
            <a:lvl1pPr algn="r">
              <a:defRPr sz="1200">
                <a:solidFill>
                  <a:schemeClr val="tx2"/>
                </a:solidFill>
              </a:defRPr>
            </a:lvl1pPr>
          </a:lstStyle>
          <a:p>
            <a:fld id="{85467521-5695-45DA-8415-BDB7AEFF5916}" type="datetimeFigureOut">
              <a:rPr lang="en-GB" smtClean="0"/>
              <a:pPr/>
              <a:t>17/02/2014</a:t>
            </a:fld>
            <a:endParaRPr lang="en-GB" dirty="0"/>
          </a:p>
        </p:txBody>
      </p:sp>
      <p:sp>
        <p:nvSpPr>
          <p:cNvPr id="4" name="Slide Image Placeholder 3"/>
          <p:cNvSpPr>
            <a:spLocks noGrp="1" noRot="1" noChangeAspect="1"/>
          </p:cNvSpPr>
          <p:nvPr>
            <p:ph type="sldImg" idx="2"/>
          </p:nvPr>
        </p:nvSpPr>
        <p:spPr>
          <a:xfrm>
            <a:off x="323850" y="696913"/>
            <a:ext cx="6197600" cy="348615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4530" y="4415790"/>
            <a:ext cx="5476240" cy="4183380"/>
          </a:xfrm>
          <a:prstGeom prst="rect">
            <a:avLst/>
          </a:prstGeom>
        </p:spPr>
        <p:txBody>
          <a:bodyPr vert="horz" lIns="91440" tIns="45720" rIns="91440" bIns="45720" rtlCol="0"/>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Footer Placeholder 5"/>
          <p:cNvSpPr>
            <a:spLocks noGrp="1"/>
          </p:cNvSpPr>
          <p:nvPr>
            <p:ph type="ftr" sz="quarter" idx="4"/>
          </p:nvPr>
        </p:nvSpPr>
        <p:spPr>
          <a:xfrm>
            <a:off x="0" y="8829967"/>
            <a:ext cx="2966297" cy="464820"/>
          </a:xfrm>
          <a:prstGeom prst="rect">
            <a:avLst/>
          </a:prstGeom>
        </p:spPr>
        <p:txBody>
          <a:bodyPr vert="horz" lIns="91440" tIns="45720" rIns="91440" bIns="45720" rtlCol="0" anchor="b"/>
          <a:lstStyle>
            <a:lvl1pPr algn="l">
              <a:defRPr sz="1200">
                <a:solidFill>
                  <a:schemeClr val="tx2"/>
                </a:solidFill>
              </a:defRPr>
            </a:lvl1pPr>
          </a:lstStyle>
          <a:p>
            <a:endParaRPr lang="en-GB" dirty="0"/>
          </a:p>
        </p:txBody>
      </p:sp>
      <p:sp>
        <p:nvSpPr>
          <p:cNvPr id="7" name="Slide Number Placeholder 6"/>
          <p:cNvSpPr>
            <a:spLocks noGrp="1"/>
          </p:cNvSpPr>
          <p:nvPr>
            <p:ph type="sldNum" sz="quarter" idx="5"/>
          </p:nvPr>
        </p:nvSpPr>
        <p:spPr>
          <a:xfrm>
            <a:off x="3877419" y="8829967"/>
            <a:ext cx="2966297" cy="464820"/>
          </a:xfrm>
          <a:prstGeom prst="rect">
            <a:avLst/>
          </a:prstGeom>
        </p:spPr>
        <p:txBody>
          <a:bodyPr vert="horz" lIns="91440" tIns="45720" rIns="91440" bIns="45720" rtlCol="0" anchor="b"/>
          <a:lstStyle>
            <a:lvl1pPr algn="r">
              <a:defRPr sz="1200">
                <a:solidFill>
                  <a:schemeClr val="tx2"/>
                </a:solidFill>
              </a:defRPr>
            </a:lvl1pPr>
          </a:lstStyle>
          <a:p>
            <a:fld id="{4EE48774-498B-401E-9F5D-F3F746572737}" type="slidenum">
              <a:rPr lang="en-GB" smtClean="0"/>
              <a:pPr/>
              <a:t>‹#›</a:t>
            </a:fld>
            <a:endParaRPr lang="en-GB" dirty="0"/>
          </a:p>
        </p:txBody>
      </p:sp>
    </p:spTree>
    <p:extLst>
      <p:ext uri="{BB962C8B-B14F-4D97-AF65-F5344CB8AC3E}">
        <p14:creationId xmlns:p14="http://schemas.microsoft.com/office/powerpoint/2010/main" val="1050630385"/>
      </p:ext>
    </p:extLst>
  </p:cSld>
  <p:clrMap bg1="lt1" tx1="dk1" bg2="lt2" tx2="dk2" accent1="accent1" accent2="accent2" accent3="accent3" accent4="accent4" accent5="accent5" accent6="accent6" hlink="hlink" folHlink="folHlink"/>
  <p:notesStyle>
    <a:lvl1pPr marL="171450" indent="-171450" algn="l" defTabSz="914400" rtl="0" eaLnBrk="1" latinLnBrk="0" hangingPunct="1">
      <a:spcBef>
        <a:spcPts val="600"/>
      </a:spcBef>
      <a:buFont typeface="Arial" pitchFamily="34" charset="0"/>
      <a:buChar char="•"/>
      <a:defRPr sz="1200" kern="1200">
        <a:solidFill>
          <a:schemeClr val="tx2"/>
        </a:solidFill>
        <a:latin typeface="+mn-lt"/>
        <a:ea typeface="+mn-ea"/>
        <a:cs typeface="+mn-cs"/>
      </a:defRPr>
    </a:lvl1pPr>
    <a:lvl2pPr marL="628650" indent="-171450" algn="l" defTabSz="914400" rtl="0" eaLnBrk="1" latinLnBrk="0" hangingPunct="1">
      <a:spcBef>
        <a:spcPts val="600"/>
      </a:spcBef>
      <a:buFont typeface="Arial" pitchFamily="34" charset="0"/>
      <a:buChar char="•"/>
      <a:defRPr sz="1200" kern="1200">
        <a:solidFill>
          <a:schemeClr val="tx2"/>
        </a:solidFill>
        <a:latin typeface="+mn-lt"/>
        <a:ea typeface="+mn-ea"/>
        <a:cs typeface="+mn-cs"/>
      </a:defRPr>
    </a:lvl2pPr>
    <a:lvl3pPr marL="1085850" indent="-171450" algn="l" defTabSz="914400" rtl="0" eaLnBrk="1" latinLnBrk="0" hangingPunct="1">
      <a:spcBef>
        <a:spcPts val="600"/>
      </a:spcBef>
      <a:buFont typeface="Arial" pitchFamily="34" charset="0"/>
      <a:buChar char="•"/>
      <a:defRPr sz="1200" kern="1200">
        <a:solidFill>
          <a:schemeClr val="tx2"/>
        </a:solidFill>
        <a:latin typeface="+mn-lt"/>
        <a:ea typeface="+mn-ea"/>
        <a:cs typeface="+mn-cs"/>
      </a:defRPr>
    </a:lvl3pPr>
    <a:lvl4pPr marL="1543050" indent="-171450" algn="l" defTabSz="914400" rtl="0" eaLnBrk="1" latinLnBrk="0" hangingPunct="1">
      <a:spcBef>
        <a:spcPts val="600"/>
      </a:spcBef>
      <a:buFont typeface="Arial" pitchFamily="34" charset="0"/>
      <a:buChar char="•"/>
      <a:defRPr sz="1200" kern="1200">
        <a:solidFill>
          <a:schemeClr val="tx2"/>
        </a:solidFill>
        <a:latin typeface="+mn-lt"/>
        <a:ea typeface="+mn-ea"/>
        <a:cs typeface="+mn-cs"/>
      </a:defRPr>
    </a:lvl4pPr>
    <a:lvl5pPr marL="2000250" indent="-171450" algn="l" defTabSz="914400" rtl="0" eaLnBrk="1" latinLnBrk="0" hangingPunct="1">
      <a:spcBef>
        <a:spcPts val="600"/>
      </a:spcBef>
      <a:buFont typeface="Arial" pitchFamily="34" charset="0"/>
      <a:buChar char="•"/>
      <a:defRPr sz="1200" kern="1200">
        <a:solidFill>
          <a:schemeClr val="tx2"/>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9100" y="1028701"/>
            <a:ext cx="5378987" cy="1208556"/>
          </a:xfrm>
        </p:spPr>
        <p:txBody>
          <a:bodyPr anchor="b">
            <a:normAutofit/>
          </a:bodyPr>
          <a:lstStyle>
            <a:lvl1pPr>
              <a:defRPr sz="4800"/>
            </a:lvl1pPr>
          </a:lstStyle>
          <a:p>
            <a:r>
              <a:rPr lang="en-GB" dirty="0" smtClean="0"/>
              <a:t>Presentation title</a:t>
            </a:r>
            <a:endParaRPr lang="en-GB" dirty="0"/>
          </a:p>
        </p:txBody>
      </p:sp>
      <p:sp>
        <p:nvSpPr>
          <p:cNvPr id="3" name="Subtitle 2"/>
          <p:cNvSpPr>
            <a:spLocks noGrp="1"/>
          </p:cNvSpPr>
          <p:nvPr>
            <p:ph type="subTitle" idx="1" hasCustomPrompt="1"/>
          </p:nvPr>
        </p:nvSpPr>
        <p:spPr>
          <a:xfrm>
            <a:off x="419100" y="2219447"/>
            <a:ext cx="4693188" cy="1314450"/>
          </a:xfrm>
        </p:spPr>
        <p:txBody>
          <a:bodyPr>
            <a:normAutofit/>
          </a:bodyPr>
          <a:lstStyle>
            <a:lvl1pPr marL="0" indent="0" algn="l">
              <a:buNone/>
              <a:defRPr sz="3000" b="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Subtitle</a:t>
            </a:r>
            <a:endParaRPr lang="en-GB" dirty="0"/>
          </a:p>
        </p:txBody>
      </p:sp>
      <p:sp>
        <p:nvSpPr>
          <p:cNvPr id="21" name="Text Placeholder 4"/>
          <p:cNvSpPr>
            <a:spLocks noGrp="1"/>
          </p:cNvSpPr>
          <p:nvPr>
            <p:ph type="body" sz="quarter" idx="10" hasCustomPrompt="1"/>
          </p:nvPr>
        </p:nvSpPr>
        <p:spPr>
          <a:xfrm>
            <a:off x="419100" y="3790950"/>
            <a:ext cx="3702588" cy="628650"/>
          </a:xfrm>
        </p:spPr>
        <p:txBody>
          <a:bodyPr anchor="b">
            <a:noAutofit/>
          </a:bodyPr>
          <a:lstStyle>
            <a:lvl1pPr marL="0" indent="0" algn="l">
              <a:spcBef>
                <a:spcPts val="0"/>
              </a:spcBef>
              <a:buFont typeface="Arial" pitchFamily="34" charset="0"/>
              <a:buNone/>
              <a:defRPr sz="2400" b="1"/>
            </a:lvl1pPr>
            <a:lvl2pPr marL="0" indent="0" algn="l">
              <a:spcBef>
                <a:spcPts val="0"/>
              </a:spcBef>
              <a:buFont typeface="Arial" pitchFamily="34" charset="0"/>
              <a:buNone/>
              <a:defRPr sz="2400" b="1"/>
            </a:lvl2pPr>
            <a:lvl3pPr marL="0" indent="0" algn="l">
              <a:spcBef>
                <a:spcPts val="0"/>
              </a:spcBef>
              <a:buFont typeface="Arial" pitchFamily="34" charset="0"/>
              <a:buNone/>
              <a:defRPr sz="2400" b="1"/>
            </a:lvl3pPr>
            <a:lvl4pPr marL="0" indent="0" algn="l">
              <a:spcBef>
                <a:spcPts val="0"/>
              </a:spcBef>
              <a:buFont typeface="Arial" pitchFamily="34" charset="0"/>
              <a:buNone/>
              <a:defRPr sz="2400" b="1"/>
            </a:lvl4pPr>
            <a:lvl5pPr marL="0" indent="0" algn="l">
              <a:spcBef>
                <a:spcPts val="0"/>
              </a:spcBef>
              <a:buFont typeface="Arial" pitchFamily="34" charset="0"/>
              <a:buNone/>
              <a:defRPr sz="2400" b="1"/>
            </a:lvl5pPr>
          </a:lstStyle>
          <a:p>
            <a:pPr lvl="0"/>
            <a:r>
              <a:rPr lang="en-GB" dirty="0" smtClean="0"/>
              <a:t>Author’s name</a:t>
            </a:r>
            <a:endParaRPr lang="en-GB" dirty="0"/>
          </a:p>
        </p:txBody>
      </p:sp>
      <p:sp>
        <p:nvSpPr>
          <p:cNvPr id="7" name="Date Placeholder 6"/>
          <p:cNvSpPr>
            <a:spLocks noGrp="1"/>
          </p:cNvSpPr>
          <p:nvPr>
            <p:ph type="dt" sz="half" idx="11"/>
          </p:nvPr>
        </p:nvSpPr>
        <p:spPr>
          <a:xfrm>
            <a:off x="419100" y="4418912"/>
            <a:ext cx="3702588" cy="380588"/>
          </a:xfrm>
          <a:prstGeom prst="rect">
            <a:avLst/>
          </a:prstGeom>
        </p:spPr>
        <p:txBody>
          <a:bodyPr lIns="0" anchor="t"/>
          <a:lstStyle>
            <a:lvl1pPr algn="l">
              <a:defRPr sz="2400">
                <a:solidFill>
                  <a:schemeClr val="tx2"/>
                </a:solidFill>
              </a:defRPr>
            </a:lvl1pPr>
          </a:lstStyle>
          <a:p>
            <a:r>
              <a:rPr lang="en-GB" smtClean="0"/>
              <a:t>Date</a:t>
            </a:r>
            <a:endParaRPr lang="en-GB" dirty="0"/>
          </a:p>
        </p:txBody>
      </p:sp>
      <p:grpSp>
        <p:nvGrpSpPr>
          <p:cNvPr id="18" name="Group 17"/>
          <p:cNvGrpSpPr/>
          <p:nvPr userDrawn="1"/>
        </p:nvGrpSpPr>
        <p:grpSpPr>
          <a:xfrm>
            <a:off x="424890" y="194920"/>
            <a:ext cx="1704044" cy="475487"/>
            <a:chOff x="566670" y="258275"/>
            <a:chExt cx="1704044" cy="475487"/>
          </a:xfrm>
        </p:grpSpPr>
        <p:pic>
          <p:nvPicPr>
            <p:cNvPr id="20" name="logo graphic"/>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795226" y="258275"/>
              <a:ext cx="475488" cy="475487"/>
            </a:xfrm>
            <a:prstGeom prst="rect">
              <a:avLst/>
            </a:prstGeom>
          </p:spPr>
        </p:pic>
        <p:grpSp>
          <p:nvGrpSpPr>
            <p:cNvPr id="22" name="letters"/>
            <p:cNvGrpSpPr/>
            <p:nvPr/>
          </p:nvGrpSpPr>
          <p:grpSpPr>
            <a:xfrm>
              <a:off x="566670" y="431006"/>
              <a:ext cx="1169700" cy="130025"/>
              <a:chOff x="566670" y="435864"/>
              <a:chExt cx="1169700" cy="130025"/>
            </a:xfrm>
          </p:grpSpPr>
          <p:sp>
            <p:nvSpPr>
              <p:cNvPr id="23" name="Freeform 6"/>
              <p:cNvSpPr>
                <a:spLocks/>
              </p:cNvSpPr>
              <p:nvPr/>
            </p:nvSpPr>
            <p:spPr bwMode="auto">
              <a:xfrm>
                <a:off x="566670" y="437296"/>
                <a:ext cx="146069" cy="127448"/>
              </a:xfrm>
              <a:custGeom>
                <a:avLst/>
                <a:gdLst>
                  <a:gd name="T0" fmla="*/ 216 w 216"/>
                  <a:gd name="T1" fmla="*/ 188 h 188"/>
                  <a:gd name="T2" fmla="*/ 178 w 216"/>
                  <a:gd name="T3" fmla="*/ 188 h 188"/>
                  <a:gd name="T4" fmla="*/ 178 w 216"/>
                  <a:gd name="T5" fmla="*/ 66 h 188"/>
                  <a:gd name="T6" fmla="*/ 113 w 216"/>
                  <a:gd name="T7" fmla="*/ 145 h 188"/>
                  <a:gd name="T8" fmla="*/ 103 w 216"/>
                  <a:gd name="T9" fmla="*/ 145 h 188"/>
                  <a:gd name="T10" fmla="*/ 38 w 216"/>
                  <a:gd name="T11" fmla="*/ 66 h 188"/>
                  <a:gd name="T12" fmla="*/ 38 w 216"/>
                  <a:gd name="T13" fmla="*/ 188 h 188"/>
                  <a:gd name="T14" fmla="*/ 0 w 216"/>
                  <a:gd name="T15" fmla="*/ 188 h 188"/>
                  <a:gd name="T16" fmla="*/ 0 w 216"/>
                  <a:gd name="T17" fmla="*/ 20 h 188"/>
                  <a:gd name="T18" fmla="*/ 20 w 216"/>
                  <a:gd name="T19" fmla="*/ 0 h 188"/>
                  <a:gd name="T20" fmla="*/ 20 w 216"/>
                  <a:gd name="T21" fmla="*/ 0 h 188"/>
                  <a:gd name="T22" fmla="*/ 38 w 216"/>
                  <a:gd name="T23" fmla="*/ 9 h 188"/>
                  <a:gd name="T24" fmla="*/ 108 w 216"/>
                  <a:gd name="T25" fmla="*/ 94 h 188"/>
                  <a:gd name="T26" fmla="*/ 182 w 216"/>
                  <a:gd name="T27" fmla="*/ 6 h 188"/>
                  <a:gd name="T28" fmla="*/ 196 w 216"/>
                  <a:gd name="T29" fmla="*/ 0 h 188"/>
                  <a:gd name="T30" fmla="*/ 196 w 216"/>
                  <a:gd name="T31" fmla="*/ 0 h 188"/>
                  <a:gd name="T32" fmla="*/ 216 w 216"/>
                  <a:gd name="T33" fmla="*/ 19 h 188"/>
                  <a:gd name="T34" fmla="*/ 216 w 216"/>
                  <a:gd name="T35"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6" h="188">
                    <a:moveTo>
                      <a:pt x="216" y="188"/>
                    </a:moveTo>
                    <a:cubicBezTo>
                      <a:pt x="178" y="188"/>
                      <a:pt x="178" y="188"/>
                      <a:pt x="178" y="188"/>
                    </a:cubicBezTo>
                    <a:cubicBezTo>
                      <a:pt x="178" y="66"/>
                      <a:pt x="178" y="66"/>
                      <a:pt x="178" y="66"/>
                    </a:cubicBezTo>
                    <a:cubicBezTo>
                      <a:pt x="113" y="145"/>
                      <a:pt x="113" y="145"/>
                      <a:pt x="113" y="145"/>
                    </a:cubicBezTo>
                    <a:cubicBezTo>
                      <a:pt x="110" y="148"/>
                      <a:pt x="106" y="148"/>
                      <a:pt x="103" y="145"/>
                    </a:cubicBezTo>
                    <a:cubicBezTo>
                      <a:pt x="38" y="66"/>
                      <a:pt x="38" y="66"/>
                      <a:pt x="38" y="66"/>
                    </a:cubicBezTo>
                    <a:cubicBezTo>
                      <a:pt x="38" y="188"/>
                      <a:pt x="38" y="188"/>
                      <a:pt x="38" y="188"/>
                    </a:cubicBezTo>
                    <a:cubicBezTo>
                      <a:pt x="0" y="188"/>
                      <a:pt x="0" y="188"/>
                      <a:pt x="0" y="188"/>
                    </a:cubicBezTo>
                    <a:cubicBezTo>
                      <a:pt x="0" y="20"/>
                      <a:pt x="0" y="20"/>
                      <a:pt x="0" y="20"/>
                    </a:cubicBezTo>
                    <a:cubicBezTo>
                      <a:pt x="0" y="9"/>
                      <a:pt x="9" y="0"/>
                      <a:pt x="20" y="0"/>
                    </a:cubicBezTo>
                    <a:cubicBezTo>
                      <a:pt x="20" y="0"/>
                      <a:pt x="20" y="0"/>
                      <a:pt x="20" y="0"/>
                    </a:cubicBezTo>
                    <a:cubicBezTo>
                      <a:pt x="28" y="0"/>
                      <a:pt x="32" y="3"/>
                      <a:pt x="38" y="9"/>
                    </a:cubicBezTo>
                    <a:cubicBezTo>
                      <a:pt x="108" y="94"/>
                      <a:pt x="108" y="94"/>
                      <a:pt x="108" y="94"/>
                    </a:cubicBezTo>
                    <a:cubicBezTo>
                      <a:pt x="182" y="6"/>
                      <a:pt x="182" y="6"/>
                      <a:pt x="182" y="6"/>
                    </a:cubicBezTo>
                    <a:cubicBezTo>
                      <a:pt x="185" y="2"/>
                      <a:pt x="190" y="0"/>
                      <a:pt x="196" y="0"/>
                    </a:cubicBezTo>
                    <a:cubicBezTo>
                      <a:pt x="196" y="0"/>
                      <a:pt x="196" y="0"/>
                      <a:pt x="196" y="0"/>
                    </a:cubicBezTo>
                    <a:cubicBezTo>
                      <a:pt x="207" y="0"/>
                      <a:pt x="216" y="8"/>
                      <a:pt x="216" y="19"/>
                    </a:cubicBezTo>
                    <a:lnTo>
                      <a:pt x="216" y="1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4" name="Freeform 7"/>
              <p:cNvSpPr>
                <a:spLocks noEditPoints="1"/>
              </p:cNvSpPr>
              <p:nvPr/>
            </p:nvSpPr>
            <p:spPr bwMode="auto">
              <a:xfrm>
                <a:off x="1350862" y="436723"/>
                <a:ext cx="146069" cy="128020"/>
              </a:xfrm>
              <a:custGeom>
                <a:avLst/>
                <a:gdLst>
                  <a:gd name="T0" fmla="*/ 0 w 216"/>
                  <a:gd name="T1" fmla="*/ 189 h 189"/>
                  <a:gd name="T2" fmla="*/ 42 w 216"/>
                  <a:gd name="T3" fmla="*/ 189 h 189"/>
                  <a:gd name="T4" fmla="*/ 66 w 216"/>
                  <a:gd name="T5" fmla="*/ 138 h 189"/>
                  <a:gd name="T6" fmla="*/ 148 w 216"/>
                  <a:gd name="T7" fmla="*/ 138 h 189"/>
                  <a:gd name="T8" fmla="*/ 174 w 216"/>
                  <a:gd name="T9" fmla="*/ 189 h 189"/>
                  <a:gd name="T10" fmla="*/ 216 w 216"/>
                  <a:gd name="T11" fmla="*/ 189 h 189"/>
                  <a:gd name="T12" fmla="*/ 124 w 216"/>
                  <a:gd name="T13" fmla="*/ 9 h 189"/>
                  <a:gd name="T14" fmla="*/ 106 w 216"/>
                  <a:gd name="T15" fmla="*/ 0 h 189"/>
                  <a:gd name="T16" fmla="*/ 106 w 216"/>
                  <a:gd name="T17" fmla="*/ 0 h 189"/>
                  <a:gd name="T18" fmla="*/ 89 w 216"/>
                  <a:gd name="T19" fmla="*/ 9 h 189"/>
                  <a:gd name="T20" fmla="*/ 0 w 216"/>
                  <a:gd name="T21" fmla="*/ 189 h 189"/>
                  <a:gd name="T22" fmla="*/ 106 w 216"/>
                  <a:gd name="T23" fmla="*/ 55 h 189"/>
                  <a:gd name="T24" fmla="*/ 133 w 216"/>
                  <a:gd name="T25" fmla="*/ 108 h 189"/>
                  <a:gd name="T26" fmla="*/ 81 w 216"/>
                  <a:gd name="T27" fmla="*/ 108 h 189"/>
                  <a:gd name="T28" fmla="*/ 106 w 216"/>
                  <a:gd name="T29" fmla="*/ 55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6" h="189">
                    <a:moveTo>
                      <a:pt x="0" y="189"/>
                    </a:moveTo>
                    <a:cubicBezTo>
                      <a:pt x="42" y="189"/>
                      <a:pt x="42" y="189"/>
                      <a:pt x="42" y="189"/>
                    </a:cubicBezTo>
                    <a:cubicBezTo>
                      <a:pt x="66" y="138"/>
                      <a:pt x="66" y="138"/>
                      <a:pt x="66" y="138"/>
                    </a:cubicBezTo>
                    <a:cubicBezTo>
                      <a:pt x="148" y="138"/>
                      <a:pt x="148" y="138"/>
                      <a:pt x="148" y="138"/>
                    </a:cubicBezTo>
                    <a:cubicBezTo>
                      <a:pt x="174" y="189"/>
                      <a:pt x="174" y="189"/>
                      <a:pt x="174" y="189"/>
                    </a:cubicBezTo>
                    <a:cubicBezTo>
                      <a:pt x="216" y="189"/>
                      <a:pt x="216" y="189"/>
                      <a:pt x="216" y="189"/>
                    </a:cubicBezTo>
                    <a:cubicBezTo>
                      <a:pt x="124" y="9"/>
                      <a:pt x="124" y="9"/>
                      <a:pt x="124" y="9"/>
                    </a:cubicBezTo>
                    <a:cubicBezTo>
                      <a:pt x="120" y="3"/>
                      <a:pt x="114" y="0"/>
                      <a:pt x="106" y="0"/>
                    </a:cubicBezTo>
                    <a:cubicBezTo>
                      <a:pt x="106" y="0"/>
                      <a:pt x="106" y="0"/>
                      <a:pt x="106" y="0"/>
                    </a:cubicBezTo>
                    <a:cubicBezTo>
                      <a:pt x="99" y="0"/>
                      <a:pt x="93" y="3"/>
                      <a:pt x="89" y="9"/>
                    </a:cubicBezTo>
                    <a:lnTo>
                      <a:pt x="0" y="189"/>
                    </a:lnTo>
                    <a:close/>
                    <a:moveTo>
                      <a:pt x="106" y="55"/>
                    </a:moveTo>
                    <a:cubicBezTo>
                      <a:pt x="133" y="108"/>
                      <a:pt x="133" y="108"/>
                      <a:pt x="133" y="108"/>
                    </a:cubicBezTo>
                    <a:cubicBezTo>
                      <a:pt x="81" y="108"/>
                      <a:pt x="81" y="108"/>
                      <a:pt x="81" y="108"/>
                    </a:cubicBezTo>
                    <a:lnTo>
                      <a:pt x="106" y="5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5" name="Freeform 8"/>
              <p:cNvSpPr>
                <a:spLocks/>
              </p:cNvSpPr>
              <p:nvPr/>
            </p:nvSpPr>
            <p:spPr bwMode="auto">
              <a:xfrm>
                <a:off x="789211" y="437296"/>
                <a:ext cx="128598" cy="127448"/>
              </a:xfrm>
              <a:custGeom>
                <a:avLst/>
                <a:gdLst>
                  <a:gd name="T0" fmla="*/ 190 w 190"/>
                  <a:gd name="T1" fmla="*/ 188 h 188"/>
                  <a:gd name="T2" fmla="*/ 163 w 190"/>
                  <a:gd name="T3" fmla="*/ 188 h 188"/>
                  <a:gd name="T4" fmla="*/ 38 w 190"/>
                  <a:gd name="T5" fmla="*/ 62 h 188"/>
                  <a:gd name="T6" fmla="*/ 38 w 190"/>
                  <a:gd name="T7" fmla="*/ 188 h 188"/>
                  <a:gd name="T8" fmla="*/ 0 w 190"/>
                  <a:gd name="T9" fmla="*/ 188 h 188"/>
                  <a:gd name="T10" fmla="*/ 0 w 190"/>
                  <a:gd name="T11" fmla="*/ 20 h 188"/>
                  <a:gd name="T12" fmla="*/ 21 w 190"/>
                  <a:gd name="T13" fmla="*/ 0 h 188"/>
                  <a:gd name="T14" fmla="*/ 21 w 190"/>
                  <a:gd name="T15" fmla="*/ 0 h 188"/>
                  <a:gd name="T16" fmla="*/ 36 w 190"/>
                  <a:gd name="T17" fmla="*/ 6 h 188"/>
                  <a:gd name="T18" fmla="*/ 152 w 190"/>
                  <a:gd name="T19" fmla="*/ 123 h 188"/>
                  <a:gd name="T20" fmla="*/ 152 w 190"/>
                  <a:gd name="T21" fmla="*/ 12 h 188"/>
                  <a:gd name="T22" fmla="*/ 165 w 190"/>
                  <a:gd name="T23" fmla="*/ 0 h 188"/>
                  <a:gd name="T24" fmla="*/ 178 w 190"/>
                  <a:gd name="T25" fmla="*/ 0 h 188"/>
                  <a:gd name="T26" fmla="*/ 190 w 190"/>
                  <a:gd name="T27" fmla="*/ 12 h 188"/>
                  <a:gd name="T28" fmla="*/ 190 w 190"/>
                  <a:gd name="T29"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0" h="188">
                    <a:moveTo>
                      <a:pt x="190" y="188"/>
                    </a:moveTo>
                    <a:cubicBezTo>
                      <a:pt x="163" y="188"/>
                      <a:pt x="163" y="188"/>
                      <a:pt x="163" y="188"/>
                    </a:cubicBezTo>
                    <a:cubicBezTo>
                      <a:pt x="38" y="62"/>
                      <a:pt x="38" y="62"/>
                      <a:pt x="38" y="62"/>
                    </a:cubicBezTo>
                    <a:cubicBezTo>
                      <a:pt x="38" y="188"/>
                      <a:pt x="38" y="188"/>
                      <a:pt x="38" y="188"/>
                    </a:cubicBezTo>
                    <a:cubicBezTo>
                      <a:pt x="0" y="188"/>
                      <a:pt x="0" y="188"/>
                      <a:pt x="0" y="188"/>
                    </a:cubicBezTo>
                    <a:cubicBezTo>
                      <a:pt x="0" y="20"/>
                      <a:pt x="0" y="20"/>
                      <a:pt x="0" y="20"/>
                    </a:cubicBezTo>
                    <a:cubicBezTo>
                      <a:pt x="0" y="9"/>
                      <a:pt x="9" y="0"/>
                      <a:pt x="21" y="0"/>
                    </a:cubicBezTo>
                    <a:cubicBezTo>
                      <a:pt x="21" y="0"/>
                      <a:pt x="21" y="0"/>
                      <a:pt x="21" y="0"/>
                    </a:cubicBezTo>
                    <a:cubicBezTo>
                      <a:pt x="27" y="0"/>
                      <a:pt x="32" y="2"/>
                      <a:pt x="36" y="6"/>
                    </a:cubicBezTo>
                    <a:cubicBezTo>
                      <a:pt x="152" y="123"/>
                      <a:pt x="152" y="123"/>
                      <a:pt x="152" y="123"/>
                    </a:cubicBezTo>
                    <a:cubicBezTo>
                      <a:pt x="152" y="12"/>
                      <a:pt x="152" y="12"/>
                      <a:pt x="152" y="12"/>
                    </a:cubicBezTo>
                    <a:cubicBezTo>
                      <a:pt x="152" y="5"/>
                      <a:pt x="158" y="0"/>
                      <a:pt x="165" y="0"/>
                    </a:cubicBezTo>
                    <a:cubicBezTo>
                      <a:pt x="178" y="0"/>
                      <a:pt x="178" y="0"/>
                      <a:pt x="178" y="0"/>
                    </a:cubicBezTo>
                    <a:cubicBezTo>
                      <a:pt x="185" y="0"/>
                      <a:pt x="190" y="5"/>
                      <a:pt x="190" y="12"/>
                    </a:cubicBezTo>
                    <a:lnTo>
                      <a:pt x="190" y="1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6" name="Freeform 9"/>
              <p:cNvSpPr>
                <a:spLocks noEditPoints="1"/>
              </p:cNvSpPr>
              <p:nvPr/>
            </p:nvSpPr>
            <p:spPr bwMode="auto">
              <a:xfrm>
                <a:off x="943586" y="437296"/>
                <a:ext cx="127739" cy="127448"/>
              </a:xfrm>
              <a:custGeom>
                <a:avLst/>
                <a:gdLst>
                  <a:gd name="T0" fmla="*/ 117 w 189"/>
                  <a:gd name="T1" fmla="*/ 4 h 188"/>
                  <a:gd name="T2" fmla="*/ 72 w 189"/>
                  <a:gd name="T3" fmla="*/ 0 h 188"/>
                  <a:gd name="T4" fmla="*/ 19 w 189"/>
                  <a:gd name="T5" fmla="*/ 0 h 188"/>
                  <a:gd name="T6" fmla="*/ 0 w 189"/>
                  <a:gd name="T7" fmla="*/ 18 h 188"/>
                  <a:gd name="T8" fmla="*/ 0 w 189"/>
                  <a:gd name="T9" fmla="*/ 188 h 188"/>
                  <a:gd name="T10" fmla="*/ 62 w 189"/>
                  <a:gd name="T11" fmla="*/ 188 h 188"/>
                  <a:gd name="T12" fmla="*/ 115 w 189"/>
                  <a:gd name="T13" fmla="*/ 182 h 188"/>
                  <a:gd name="T14" fmla="*/ 189 w 189"/>
                  <a:gd name="T15" fmla="*/ 91 h 188"/>
                  <a:gd name="T16" fmla="*/ 117 w 189"/>
                  <a:gd name="T17" fmla="*/ 4 h 188"/>
                  <a:gd name="T18" fmla="*/ 105 w 189"/>
                  <a:gd name="T19" fmla="*/ 148 h 188"/>
                  <a:gd name="T20" fmla="*/ 62 w 189"/>
                  <a:gd name="T21" fmla="*/ 153 h 188"/>
                  <a:gd name="T22" fmla="*/ 62 w 189"/>
                  <a:gd name="T23" fmla="*/ 153 h 188"/>
                  <a:gd name="T24" fmla="*/ 38 w 189"/>
                  <a:gd name="T25" fmla="*/ 153 h 188"/>
                  <a:gd name="T26" fmla="*/ 38 w 189"/>
                  <a:gd name="T27" fmla="*/ 153 h 188"/>
                  <a:gd name="T28" fmla="*/ 38 w 189"/>
                  <a:gd name="T29" fmla="*/ 34 h 188"/>
                  <a:gd name="T30" fmla="*/ 38 w 189"/>
                  <a:gd name="T31" fmla="*/ 34 h 188"/>
                  <a:gd name="T32" fmla="*/ 68 w 189"/>
                  <a:gd name="T33" fmla="*/ 34 h 188"/>
                  <a:gd name="T34" fmla="*/ 68 w 189"/>
                  <a:gd name="T35" fmla="*/ 34 h 188"/>
                  <a:gd name="T36" fmla="*/ 107 w 189"/>
                  <a:gd name="T37" fmla="*/ 38 h 188"/>
                  <a:gd name="T38" fmla="*/ 150 w 189"/>
                  <a:gd name="T39" fmla="*/ 91 h 188"/>
                  <a:gd name="T40" fmla="*/ 105 w 189"/>
                  <a:gd name="T41" fmla="*/ 14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9" h="188">
                    <a:moveTo>
                      <a:pt x="117" y="4"/>
                    </a:moveTo>
                    <a:cubicBezTo>
                      <a:pt x="104" y="1"/>
                      <a:pt x="89" y="0"/>
                      <a:pt x="72" y="0"/>
                    </a:cubicBezTo>
                    <a:cubicBezTo>
                      <a:pt x="19" y="0"/>
                      <a:pt x="19" y="0"/>
                      <a:pt x="19" y="0"/>
                    </a:cubicBezTo>
                    <a:cubicBezTo>
                      <a:pt x="9" y="0"/>
                      <a:pt x="0" y="8"/>
                      <a:pt x="0" y="18"/>
                    </a:cubicBezTo>
                    <a:cubicBezTo>
                      <a:pt x="0" y="188"/>
                      <a:pt x="0" y="188"/>
                      <a:pt x="0" y="188"/>
                    </a:cubicBezTo>
                    <a:cubicBezTo>
                      <a:pt x="62" y="188"/>
                      <a:pt x="62" y="188"/>
                      <a:pt x="62" y="188"/>
                    </a:cubicBezTo>
                    <a:cubicBezTo>
                      <a:pt x="84" y="188"/>
                      <a:pt x="100" y="186"/>
                      <a:pt x="115" y="182"/>
                    </a:cubicBezTo>
                    <a:cubicBezTo>
                      <a:pt x="163" y="168"/>
                      <a:pt x="189" y="136"/>
                      <a:pt x="189" y="91"/>
                    </a:cubicBezTo>
                    <a:cubicBezTo>
                      <a:pt x="189" y="46"/>
                      <a:pt x="164" y="15"/>
                      <a:pt x="117" y="4"/>
                    </a:cubicBezTo>
                    <a:close/>
                    <a:moveTo>
                      <a:pt x="105" y="148"/>
                    </a:moveTo>
                    <a:cubicBezTo>
                      <a:pt x="94" y="151"/>
                      <a:pt x="79" y="153"/>
                      <a:pt x="62" y="153"/>
                    </a:cubicBezTo>
                    <a:cubicBezTo>
                      <a:pt x="62" y="153"/>
                      <a:pt x="62" y="153"/>
                      <a:pt x="62" y="153"/>
                    </a:cubicBezTo>
                    <a:cubicBezTo>
                      <a:pt x="38" y="153"/>
                      <a:pt x="38" y="153"/>
                      <a:pt x="38" y="153"/>
                    </a:cubicBezTo>
                    <a:cubicBezTo>
                      <a:pt x="38" y="153"/>
                      <a:pt x="38" y="153"/>
                      <a:pt x="38" y="153"/>
                    </a:cubicBezTo>
                    <a:cubicBezTo>
                      <a:pt x="38" y="34"/>
                      <a:pt x="38" y="34"/>
                      <a:pt x="38" y="34"/>
                    </a:cubicBezTo>
                    <a:cubicBezTo>
                      <a:pt x="38" y="34"/>
                      <a:pt x="38" y="34"/>
                      <a:pt x="38" y="34"/>
                    </a:cubicBezTo>
                    <a:cubicBezTo>
                      <a:pt x="68" y="34"/>
                      <a:pt x="68" y="34"/>
                      <a:pt x="68" y="34"/>
                    </a:cubicBezTo>
                    <a:cubicBezTo>
                      <a:pt x="68" y="34"/>
                      <a:pt x="68" y="34"/>
                      <a:pt x="68" y="34"/>
                    </a:cubicBezTo>
                    <a:cubicBezTo>
                      <a:pt x="86" y="34"/>
                      <a:pt x="97" y="35"/>
                      <a:pt x="107" y="38"/>
                    </a:cubicBezTo>
                    <a:cubicBezTo>
                      <a:pt x="136" y="46"/>
                      <a:pt x="150" y="63"/>
                      <a:pt x="150" y="91"/>
                    </a:cubicBezTo>
                    <a:cubicBezTo>
                      <a:pt x="150" y="120"/>
                      <a:pt x="135" y="139"/>
                      <a:pt x="105" y="14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7" name="Freeform 10"/>
              <p:cNvSpPr>
                <a:spLocks noEditPoints="1"/>
              </p:cNvSpPr>
              <p:nvPr/>
            </p:nvSpPr>
            <p:spPr bwMode="auto">
              <a:xfrm>
                <a:off x="1513256" y="437296"/>
                <a:ext cx="110841" cy="127448"/>
              </a:xfrm>
              <a:custGeom>
                <a:avLst/>
                <a:gdLst>
                  <a:gd name="T0" fmla="*/ 113 w 164"/>
                  <a:gd name="T1" fmla="*/ 113 h 188"/>
                  <a:gd name="T2" fmla="*/ 158 w 164"/>
                  <a:gd name="T3" fmla="*/ 58 h 188"/>
                  <a:gd name="T4" fmla="*/ 82 w 164"/>
                  <a:gd name="T5" fmla="*/ 0 h 188"/>
                  <a:gd name="T6" fmla="*/ 19 w 164"/>
                  <a:gd name="T7" fmla="*/ 0 h 188"/>
                  <a:gd name="T8" fmla="*/ 0 w 164"/>
                  <a:gd name="T9" fmla="*/ 18 h 188"/>
                  <a:gd name="T10" fmla="*/ 0 w 164"/>
                  <a:gd name="T11" fmla="*/ 188 h 188"/>
                  <a:gd name="T12" fmla="*/ 38 w 164"/>
                  <a:gd name="T13" fmla="*/ 188 h 188"/>
                  <a:gd name="T14" fmla="*/ 38 w 164"/>
                  <a:gd name="T15" fmla="*/ 118 h 188"/>
                  <a:gd name="T16" fmla="*/ 72 w 164"/>
                  <a:gd name="T17" fmla="*/ 118 h 188"/>
                  <a:gd name="T18" fmla="*/ 119 w 164"/>
                  <a:gd name="T19" fmla="*/ 188 h 188"/>
                  <a:gd name="T20" fmla="*/ 164 w 164"/>
                  <a:gd name="T21" fmla="*/ 188 h 188"/>
                  <a:gd name="T22" fmla="*/ 113 w 164"/>
                  <a:gd name="T23" fmla="*/ 113 h 188"/>
                  <a:gd name="T24" fmla="*/ 38 w 164"/>
                  <a:gd name="T25" fmla="*/ 83 h 188"/>
                  <a:gd name="T26" fmla="*/ 38 w 164"/>
                  <a:gd name="T27" fmla="*/ 34 h 188"/>
                  <a:gd name="T28" fmla="*/ 85 w 164"/>
                  <a:gd name="T29" fmla="*/ 34 h 188"/>
                  <a:gd name="T30" fmla="*/ 118 w 164"/>
                  <a:gd name="T31" fmla="*/ 59 h 188"/>
                  <a:gd name="T32" fmla="*/ 77 w 164"/>
                  <a:gd name="T33" fmla="*/ 83 h 188"/>
                  <a:gd name="T34" fmla="*/ 38 w 164"/>
                  <a:gd name="T35" fmla="*/ 83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4" h="188">
                    <a:moveTo>
                      <a:pt x="113" y="113"/>
                    </a:moveTo>
                    <a:cubicBezTo>
                      <a:pt x="142" y="105"/>
                      <a:pt x="158" y="86"/>
                      <a:pt x="158" y="58"/>
                    </a:cubicBezTo>
                    <a:cubicBezTo>
                      <a:pt x="158" y="22"/>
                      <a:pt x="129" y="0"/>
                      <a:pt x="82" y="0"/>
                    </a:cubicBezTo>
                    <a:cubicBezTo>
                      <a:pt x="19" y="0"/>
                      <a:pt x="19" y="0"/>
                      <a:pt x="19" y="0"/>
                    </a:cubicBezTo>
                    <a:cubicBezTo>
                      <a:pt x="8" y="0"/>
                      <a:pt x="0" y="8"/>
                      <a:pt x="0" y="18"/>
                    </a:cubicBezTo>
                    <a:cubicBezTo>
                      <a:pt x="0" y="188"/>
                      <a:pt x="0" y="188"/>
                      <a:pt x="0" y="188"/>
                    </a:cubicBezTo>
                    <a:cubicBezTo>
                      <a:pt x="38" y="188"/>
                      <a:pt x="38" y="188"/>
                      <a:pt x="38" y="188"/>
                    </a:cubicBezTo>
                    <a:cubicBezTo>
                      <a:pt x="38" y="118"/>
                      <a:pt x="38" y="118"/>
                      <a:pt x="38" y="118"/>
                    </a:cubicBezTo>
                    <a:cubicBezTo>
                      <a:pt x="72" y="118"/>
                      <a:pt x="72" y="118"/>
                      <a:pt x="72" y="118"/>
                    </a:cubicBezTo>
                    <a:cubicBezTo>
                      <a:pt x="119" y="188"/>
                      <a:pt x="119" y="188"/>
                      <a:pt x="119" y="188"/>
                    </a:cubicBezTo>
                    <a:cubicBezTo>
                      <a:pt x="164" y="188"/>
                      <a:pt x="164" y="188"/>
                      <a:pt x="164" y="188"/>
                    </a:cubicBezTo>
                    <a:lnTo>
                      <a:pt x="113" y="113"/>
                    </a:lnTo>
                    <a:close/>
                    <a:moveTo>
                      <a:pt x="38" y="83"/>
                    </a:moveTo>
                    <a:cubicBezTo>
                      <a:pt x="38" y="34"/>
                      <a:pt x="38" y="34"/>
                      <a:pt x="38" y="34"/>
                    </a:cubicBezTo>
                    <a:cubicBezTo>
                      <a:pt x="85" y="34"/>
                      <a:pt x="85" y="34"/>
                      <a:pt x="85" y="34"/>
                    </a:cubicBezTo>
                    <a:cubicBezTo>
                      <a:pt x="98" y="34"/>
                      <a:pt x="118" y="38"/>
                      <a:pt x="118" y="59"/>
                    </a:cubicBezTo>
                    <a:cubicBezTo>
                      <a:pt x="118" y="69"/>
                      <a:pt x="114" y="83"/>
                      <a:pt x="77" y="83"/>
                    </a:cubicBezTo>
                    <a:lnTo>
                      <a:pt x="38" y="8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8" name="Freeform 11"/>
              <p:cNvSpPr>
                <a:spLocks/>
              </p:cNvSpPr>
              <p:nvPr/>
            </p:nvSpPr>
            <p:spPr bwMode="auto">
              <a:xfrm>
                <a:off x="738516" y="437296"/>
                <a:ext cx="25777" cy="127448"/>
              </a:xfrm>
              <a:custGeom>
                <a:avLst/>
                <a:gdLst>
                  <a:gd name="T0" fmla="*/ 0 w 38"/>
                  <a:gd name="T1" fmla="*/ 188 h 188"/>
                  <a:gd name="T2" fmla="*/ 38 w 38"/>
                  <a:gd name="T3" fmla="*/ 188 h 188"/>
                  <a:gd name="T4" fmla="*/ 38 w 38"/>
                  <a:gd name="T5" fmla="*/ 12 h 188"/>
                  <a:gd name="T6" fmla="*/ 25 w 38"/>
                  <a:gd name="T7" fmla="*/ 0 h 188"/>
                  <a:gd name="T8" fmla="*/ 13 w 38"/>
                  <a:gd name="T9" fmla="*/ 0 h 188"/>
                  <a:gd name="T10" fmla="*/ 0 w 38"/>
                  <a:gd name="T11" fmla="*/ 12 h 188"/>
                  <a:gd name="T12" fmla="*/ 0 w 38"/>
                  <a:gd name="T13" fmla="*/ 188 h 188"/>
                </a:gdLst>
                <a:ahLst/>
                <a:cxnLst>
                  <a:cxn ang="0">
                    <a:pos x="T0" y="T1"/>
                  </a:cxn>
                  <a:cxn ang="0">
                    <a:pos x="T2" y="T3"/>
                  </a:cxn>
                  <a:cxn ang="0">
                    <a:pos x="T4" y="T5"/>
                  </a:cxn>
                  <a:cxn ang="0">
                    <a:pos x="T6" y="T7"/>
                  </a:cxn>
                  <a:cxn ang="0">
                    <a:pos x="T8" y="T9"/>
                  </a:cxn>
                  <a:cxn ang="0">
                    <a:pos x="T10" y="T11"/>
                  </a:cxn>
                  <a:cxn ang="0">
                    <a:pos x="T12" y="T13"/>
                  </a:cxn>
                </a:cxnLst>
                <a:rect l="0" t="0" r="r" b="b"/>
                <a:pathLst>
                  <a:path w="38" h="188">
                    <a:moveTo>
                      <a:pt x="0" y="188"/>
                    </a:moveTo>
                    <a:cubicBezTo>
                      <a:pt x="38" y="188"/>
                      <a:pt x="38" y="188"/>
                      <a:pt x="38" y="188"/>
                    </a:cubicBezTo>
                    <a:cubicBezTo>
                      <a:pt x="38" y="12"/>
                      <a:pt x="38" y="12"/>
                      <a:pt x="38" y="12"/>
                    </a:cubicBezTo>
                    <a:cubicBezTo>
                      <a:pt x="38" y="5"/>
                      <a:pt x="32" y="0"/>
                      <a:pt x="25" y="0"/>
                    </a:cubicBezTo>
                    <a:cubicBezTo>
                      <a:pt x="13" y="0"/>
                      <a:pt x="13" y="0"/>
                      <a:pt x="13" y="0"/>
                    </a:cubicBezTo>
                    <a:cubicBezTo>
                      <a:pt x="6" y="0"/>
                      <a:pt x="0" y="5"/>
                      <a:pt x="0" y="12"/>
                    </a:cubicBezTo>
                    <a:lnTo>
                      <a:pt x="0" y="1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9" name="Freeform 12"/>
              <p:cNvSpPr>
                <a:spLocks/>
              </p:cNvSpPr>
              <p:nvPr/>
            </p:nvSpPr>
            <p:spPr bwMode="auto">
              <a:xfrm>
                <a:off x="1217394" y="437296"/>
                <a:ext cx="118001" cy="127448"/>
              </a:xfrm>
              <a:custGeom>
                <a:avLst/>
                <a:gdLst>
                  <a:gd name="T0" fmla="*/ 174 w 174"/>
                  <a:gd name="T1" fmla="*/ 188 h 188"/>
                  <a:gd name="T2" fmla="*/ 137 w 174"/>
                  <a:gd name="T3" fmla="*/ 188 h 188"/>
                  <a:gd name="T4" fmla="*/ 137 w 174"/>
                  <a:gd name="T5" fmla="*/ 110 h 188"/>
                  <a:gd name="T6" fmla="*/ 38 w 174"/>
                  <a:gd name="T7" fmla="*/ 110 h 188"/>
                  <a:gd name="T8" fmla="*/ 38 w 174"/>
                  <a:gd name="T9" fmla="*/ 188 h 188"/>
                  <a:gd name="T10" fmla="*/ 0 w 174"/>
                  <a:gd name="T11" fmla="*/ 188 h 188"/>
                  <a:gd name="T12" fmla="*/ 0 w 174"/>
                  <a:gd name="T13" fmla="*/ 12 h 188"/>
                  <a:gd name="T14" fmla="*/ 13 w 174"/>
                  <a:gd name="T15" fmla="*/ 0 h 188"/>
                  <a:gd name="T16" fmla="*/ 25 w 174"/>
                  <a:gd name="T17" fmla="*/ 0 h 188"/>
                  <a:gd name="T18" fmla="*/ 38 w 174"/>
                  <a:gd name="T19" fmla="*/ 12 h 188"/>
                  <a:gd name="T20" fmla="*/ 38 w 174"/>
                  <a:gd name="T21" fmla="*/ 75 h 188"/>
                  <a:gd name="T22" fmla="*/ 137 w 174"/>
                  <a:gd name="T23" fmla="*/ 75 h 188"/>
                  <a:gd name="T24" fmla="*/ 137 w 174"/>
                  <a:gd name="T25" fmla="*/ 12 h 188"/>
                  <a:gd name="T26" fmla="*/ 149 w 174"/>
                  <a:gd name="T27" fmla="*/ 0 h 188"/>
                  <a:gd name="T28" fmla="*/ 162 w 174"/>
                  <a:gd name="T29" fmla="*/ 0 h 188"/>
                  <a:gd name="T30" fmla="*/ 174 w 174"/>
                  <a:gd name="T31" fmla="*/ 12 h 188"/>
                  <a:gd name="T32" fmla="*/ 174 w 174"/>
                  <a:gd name="T33"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4" h="188">
                    <a:moveTo>
                      <a:pt x="174" y="188"/>
                    </a:moveTo>
                    <a:cubicBezTo>
                      <a:pt x="137" y="188"/>
                      <a:pt x="137" y="188"/>
                      <a:pt x="137" y="188"/>
                    </a:cubicBezTo>
                    <a:cubicBezTo>
                      <a:pt x="137" y="110"/>
                      <a:pt x="137" y="110"/>
                      <a:pt x="137" y="110"/>
                    </a:cubicBezTo>
                    <a:cubicBezTo>
                      <a:pt x="38" y="110"/>
                      <a:pt x="38" y="110"/>
                      <a:pt x="38" y="110"/>
                    </a:cubicBezTo>
                    <a:cubicBezTo>
                      <a:pt x="38" y="188"/>
                      <a:pt x="38" y="188"/>
                      <a:pt x="38" y="188"/>
                    </a:cubicBezTo>
                    <a:cubicBezTo>
                      <a:pt x="0" y="188"/>
                      <a:pt x="0" y="188"/>
                      <a:pt x="0" y="188"/>
                    </a:cubicBezTo>
                    <a:cubicBezTo>
                      <a:pt x="0" y="12"/>
                      <a:pt x="0" y="12"/>
                      <a:pt x="0" y="12"/>
                    </a:cubicBezTo>
                    <a:cubicBezTo>
                      <a:pt x="0" y="5"/>
                      <a:pt x="6" y="0"/>
                      <a:pt x="13" y="0"/>
                    </a:cubicBezTo>
                    <a:cubicBezTo>
                      <a:pt x="25" y="0"/>
                      <a:pt x="25" y="0"/>
                      <a:pt x="25" y="0"/>
                    </a:cubicBezTo>
                    <a:cubicBezTo>
                      <a:pt x="32" y="0"/>
                      <a:pt x="38" y="5"/>
                      <a:pt x="38" y="12"/>
                    </a:cubicBezTo>
                    <a:cubicBezTo>
                      <a:pt x="38" y="75"/>
                      <a:pt x="38" y="75"/>
                      <a:pt x="38" y="75"/>
                    </a:cubicBezTo>
                    <a:cubicBezTo>
                      <a:pt x="137" y="75"/>
                      <a:pt x="137" y="75"/>
                      <a:pt x="137" y="75"/>
                    </a:cubicBezTo>
                    <a:cubicBezTo>
                      <a:pt x="137" y="12"/>
                      <a:pt x="137" y="12"/>
                      <a:pt x="137" y="12"/>
                    </a:cubicBezTo>
                    <a:cubicBezTo>
                      <a:pt x="137" y="5"/>
                      <a:pt x="142" y="0"/>
                      <a:pt x="149" y="0"/>
                    </a:cubicBezTo>
                    <a:cubicBezTo>
                      <a:pt x="162" y="0"/>
                      <a:pt x="162" y="0"/>
                      <a:pt x="162" y="0"/>
                    </a:cubicBezTo>
                    <a:cubicBezTo>
                      <a:pt x="169" y="0"/>
                      <a:pt x="174" y="5"/>
                      <a:pt x="174" y="12"/>
                    </a:cubicBezTo>
                    <a:lnTo>
                      <a:pt x="174" y="1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0" name="Freeform 13"/>
              <p:cNvSpPr>
                <a:spLocks/>
              </p:cNvSpPr>
              <p:nvPr/>
            </p:nvSpPr>
            <p:spPr bwMode="auto">
              <a:xfrm>
                <a:off x="1085646" y="435864"/>
                <a:ext cx="108836" cy="130025"/>
              </a:xfrm>
              <a:custGeom>
                <a:avLst/>
                <a:gdLst>
                  <a:gd name="T0" fmla="*/ 90 w 161"/>
                  <a:gd name="T1" fmla="*/ 78 h 192"/>
                  <a:gd name="T2" fmla="*/ 46 w 161"/>
                  <a:gd name="T3" fmla="*/ 56 h 192"/>
                  <a:gd name="T4" fmla="*/ 83 w 161"/>
                  <a:gd name="T5" fmla="*/ 36 h 192"/>
                  <a:gd name="T6" fmla="*/ 139 w 161"/>
                  <a:gd name="T7" fmla="*/ 49 h 192"/>
                  <a:gd name="T8" fmla="*/ 140 w 161"/>
                  <a:gd name="T9" fmla="*/ 49 h 192"/>
                  <a:gd name="T10" fmla="*/ 145 w 161"/>
                  <a:gd name="T11" fmla="*/ 47 h 192"/>
                  <a:gd name="T12" fmla="*/ 156 w 161"/>
                  <a:gd name="T13" fmla="*/ 25 h 192"/>
                  <a:gd name="T14" fmla="*/ 156 w 161"/>
                  <a:gd name="T15" fmla="*/ 23 h 192"/>
                  <a:gd name="T16" fmla="*/ 153 w 161"/>
                  <a:gd name="T17" fmla="*/ 18 h 192"/>
                  <a:gd name="T18" fmla="*/ 152 w 161"/>
                  <a:gd name="T19" fmla="*/ 17 h 192"/>
                  <a:gd name="T20" fmla="*/ 81 w 161"/>
                  <a:gd name="T21" fmla="*/ 0 h 192"/>
                  <a:gd name="T22" fmla="*/ 7 w 161"/>
                  <a:gd name="T23" fmla="*/ 57 h 192"/>
                  <a:gd name="T24" fmla="*/ 25 w 161"/>
                  <a:gd name="T25" fmla="*/ 96 h 192"/>
                  <a:gd name="T26" fmla="*/ 80 w 161"/>
                  <a:gd name="T27" fmla="*/ 113 h 192"/>
                  <a:gd name="T28" fmla="*/ 122 w 161"/>
                  <a:gd name="T29" fmla="*/ 133 h 192"/>
                  <a:gd name="T30" fmla="*/ 78 w 161"/>
                  <a:gd name="T31" fmla="*/ 157 h 192"/>
                  <a:gd name="T32" fmla="*/ 22 w 161"/>
                  <a:gd name="T33" fmla="*/ 142 h 192"/>
                  <a:gd name="T34" fmla="*/ 18 w 161"/>
                  <a:gd name="T35" fmla="*/ 139 h 192"/>
                  <a:gd name="T36" fmla="*/ 15 w 161"/>
                  <a:gd name="T37" fmla="*/ 143 h 192"/>
                  <a:gd name="T38" fmla="*/ 2 w 161"/>
                  <a:gd name="T39" fmla="*/ 166 h 192"/>
                  <a:gd name="T40" fmla="*/ 0 w 161"/>
                  <a:gd name="T41" fmla="*/ 170 h 192"/>
                  <a:gd name="T42" fmla="*/ 4 w 161"/>
                  <a:gd name="T43" fmla="*/ 172 h 192"/>
                  <a:gd name="T44" fmla="*/ 77 w 161"/>
                  <a:gd name="T45" fmla="*/ 192 h 192"/>
                  <a:gd name="T46" fmla="*/ 161 w 161"/>
                  <a:gd name="T47" fmla="*/ 132 h 192"/>
                  <a:gd name="T48" fmla="*/ 90 w 161"/>
                  <a:gd name="T49" fmla="*/ 7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1" h="192">
                    <a:moveTo>
                      <a:pt x="90" y="78"/>
                    </a:moveTo>
                    <a:cubicBezTo>
                      <a:pt x="63" y="74"/>
                      <a:pt x="46" y="71"/>
                      <a:pt x="46" y="56"/>
                    </a:cubicBezTo>
                    <a:cubicBezTo>
                      <a:pt x="46" y="43"/>
                      <a:pt x="60" y="36"/>
                      <a:pt x="83" y="36"/>
                    </a:cubicBezTo>
                    <a:cubicBezTo>
                      <a:pt x="109" y="36"/>
                      <a:pt x="130" y="45"/>
                      <a:pt x="139" y="49"/>
                    </a:cubicBezTo>
                    <a:cubicBezTo>
                      <a:pt x="139" y="49"/>
                      <a:pt x="139" y="49"/>
                      <a:pt x="140" y="49"/>
                    </a:cubicBezTo>
                    <a:cubicBezTo>
                      <a:pt x="142" y="49"/>
                      <a:pt x="144" y="49"/>
                      <a:pt x="145" y="47"/>
                    </a:cubicBezTo>
                    <a:cubicBezTo>
                      <a:pt x="156" y="25"/>
                      <a:pt x="156" y="25"/>
                      <a:pt x="156" y="25"/>
                    </a:cubicBezTo>
                    <a:cubicBezTo>
                      <a:pt x="156" y="24"/>
                      <a:pt x="156" y="23"/>
                      <a:pt x="156" y="23"/>
                    </a:cubicBezTo>
                    <a:cubicBezTo>
                      <a:pt x="156" y="21"/>
                      <a:pt x="155" y="19"/>
                      <a:pt x="153" y="18"/>
                    </a:cubicBezTo>
                    <a:cubicBezTo>
                      <a:pt x="152" y="17"/>
                      <a:pt x="152" y="17"/>
                      <a:pt x="152" y="17"/>
                    </a:cubicBezTo>
                    <a:cubicBezTo>
                      <a:pt x="133" y="7"/>
                      <a:pt x="106" y="0"/>
                      <a:pt x="81" y="0"/>
                    </a:cubicBezTo>
                    <a:cubicBezTo>
                      <a:pt x="35" y="0"/>
                      <a:pt x="7" y="22"/>
                      <a:pt x="7" y="57"/>
                    </a:cubicBezTo>
                    <a:cubicBezTo>
                      <a:pt x="7" y="75"/>
                      <a:pt x="13" y="87"/>
                      <a:pt x="25" y="96"/>
                    </a:cubicBezTo>
                    <a:cubicBezTo>
                      <a:pt x="40" y="107"/>
                      <a:pt x="61" y="110"/>
                      <a:pt x="80" y="113"/>
                    </a:cubicBezTo>
                    <a:cubicBezTo>
                      <a:pt x="106" y="117"/>
                      <a:pt x="122" y="119"/>
                      <a:pt x="122" y="133"/>
                    </a:cubicBezTo>
                    <a:cubicBezTo>
                      <a:pt x="122" y="155"/>
                      <a:pt x="91" y="157"/>
                      <a:pt x="78" y="157"/>
                    </a:cubicBezTo>
                    <a:cubicBezTo>
                      <a:pt x="57" y="157"/>
                      <a:pt x="38" y="152"/>
                      <a:pt x="22" y="142"/>
                    </a:cubicBezTo>
                    <a:cubicBezTo>
                      <a:pt x="18" y="139"/>
                      <a:pt x="18" y="139"/>
                      <a:pt x="18" y="139"/>
                    </a:cubicBezTo>
                    <a:cubicBezTo>
                      <a:pt x="15" y="143"/>
                      <a:pt x="15" y="143"/>
                      <a:pt x="15" y="143"/>
                    </a:cubicBezTo>
                    <a:cubicBezTo>
                      <a:pt x="2" y="166"/>
                      <a:pt x="2" y="166"/>
                      <a:pt x="2" y="166"/>
                    </a:cubicBezTo>
                    <a:cubicBezTo>
                      <a:pt x="0" y="170"/>
                      <a:pt x="0" y="170"/>
                      <a:pt x="0" y="170"/>
                    </a:cubicBezTo>
                    <a:cubicBezTo>
                      <a:pt x="4" y="172"/>
                      <a:pt x="4" y="172"/>
                      <a:pt x="4" y="172"/>
                    </a:cubicBezTo>
                    <a:cubicBezTo>
                      <a:pt x="18" y="181"/>
                      <a:pt x="42" y="192"/>
                      <a:pt x="77" y="192"/>
                    </a:cubicBezTo>
                    <a:cubicBezTo>
                      <a:pt x="128" y="192"/>
                      <a:pt x="161" y="169"/>
                      <a:pt x="161" y="132"/>
                    </a:cubicBezTo>
                    <a:cubicBezTo>
                      <a:pt x="161" y="88"/>
                      <a:pt x="122" y="82"/>
                      <a:pt x="90" y="7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1" name="Freeform 14"/>
              <p:cNvSpPr>
                <a:spLocks/>
              </p:cNvSpPr>
              <p:nvPr/>
            </p:nvSpPr>
            <p:spPr bwMode="auto">
              <a:xfrm>
                <a:off x="1642427" y="437296"/>
                <a:ext cx="93943" cy="127448"/>
              </a:xfrm>
              <a:custGeom>
                <a:avLst/>
                <a:gdLst>
                  <a:gd name="T0" fmla="*/ 128 w 139"/>
                  <a:gd name="T1" fmla="*/ 103 h 188"/>
                  <a:gd name="T2" fmla="*/ 121 w 139"/>
                  <a:gd name="T3" fmla="*/ 110 h 188"/>
                  <a:gd name="T4" fmla="*/ 38 w 139"/>
                  <a:gd name="T5" fmla="*/ 110 h 188"/>
                  <a:gd name="T6" fmla="*/ 38 w 139"/>
                  <a:gd name="T7" fmla="*/ 153 h 188"/>
                  <a:gd name="T8" fmla="*/ 139 w 139"/>
                  <a:gd name="T9" fmla="*/ 153 h 188"/>
                  <a:gd name="T10" fmla="*/ 139 w 139"/>
                  <a:gd name="T11" fmla="*/ 188 h 188"/>
                  <a:gd name="T12" fmla="*/ 0 w 139"/>
                  <a:gd name="T13" fmla="*/ 188 h 188"/>
                  <a:gd name="T14" fmla="*/ 0 w 139"/>
                  <a:gd name="T15" fmla="*/ 18 h 188"/>
                  <a:gd name="T16" fmla="*/ 19 w 139"/>
                  <a:gd name="T17" fmla="*/ 0 h 188"/>
                  <a:gd name="T18" fmla="*/ 130 w 139"/>
                  <a:gd name="T19" fmla="*/ 0 h 188"/>
                  <a:gd name="T20" fmla="*/ 137 w 139"/>
                  <a:gd name="T21" fmla="*/ 6 h 188"/>
                  <a:gd name="T22" fmla="*/ 137 w 139"/>
                  <a:gd name="T23" fmla="*/ 27 h 188"/>
                  <a:gd name="T24" fmla="*/ 130 w 139"/>
                  <a:gd name="T25" fmla="*/ 34 h 188"/>
                  <a:gd name="T26" fmla="*/ 38 w 139"/>
                  <a:gd name="T27" fmla="*/ 34 h 188"/>
                  <a:gd name="T28" fmla="*/ 38 w 139"/>
                  <a:gd name="T29" fmla="*/ 75 h 188"/>
                  <a:gd name="T30" fmla="*/ 121 w 139"/>
                  <a:gd name="T31" fmla="*/ 75 h 188"/>
                  <a:gd name="T32" fmla="*/ 128 w 139"/>
                  <a:gd name="T33" fmla="*/ 82 h 188"/>
                  <a:gd name="T34" fmla="*/ 128 w 139"/>
                  <a:gd name="T35" fmla="*/ 103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188">
                    <a:moveTo>
                      <a:pt x="128" y="103"/>
                    </a:moveTo>
                    <a:cubicBezTo>
                      <a:pt x="128" y="107"/>
                      <a:pt x="124" y="110"/>
                      <a:pt x="121" y="110"/>
                    </a:cubicBezTo>
                    <a:cubicBezTo>
                      <a:pt x="38" y="110"/>
                      <a:pt x="38" y="110"/>
                      <a:pt x="38" y="110"/>
                    </a:cubicBezTo>
                    <a:cubicBezTo>
                      <a:pt x="38" y="153"/>
                      <a:pt x="38" y="153"/>
                      <a:pt x="38" y="153"/>
                    </a:cubicBezTo>
                    <a:cubicBezTo>
                      <a:pt x="139" y="153"/>
                      <a:pt x="139" y="153"/>
                      <a:pt x="139" y="153"/>
                    </a:cubicBezTo>
                    <a:cubicBezTo>
                      <a:pt x="139" y="188"/>
                      <a:pt x="139" y="188"/>
                      <a:pt x="139" y="188"/>
                    </a:cubicBezTo>
                    <a:cubicBezTo>
                      <a:pt x="0" y="188"/>
                      <a:pt x="0" y="188"/>
                      <a:pt x="0" y="188"/>
                    </a:cubicBezTo>
                    <a:cubicBezTo>
                      <a:pt x="0" y="18"/>
                      <a:pt x="0" y="18"/>
                      <a:pt x="0" y="18"/>
                    </a:cubicBezTo>
                    <a:cubicBezTo>
                      <a:pt x="0" y="8"/>
                      <a:pt x="9" y="0"/>
                      <a:pt x="19" y="0"/>
                    </a:cubicBezTo>
                    <a:cubicBezTo>
                      <a:pt x="130" y="0"/>
                      <a:pt x="130" y="0"/>
                      <a:pt x="130" y="0"/>
                    </a:cubicBezTo>
                    <a:cubicBezTo>
                      <a:pt x="134" y="0"/>
                      <a:pt x="137" y="2"/>
                      <a:pt x="137" y="6"/>
                    </a:cubicBezTo>
                    <a:cubicBezTo>
                      <a:pt x="137" y="27"/>
                      <a:pt x="137" y="27"/>
                      <a:pt x="137" y="27"/>
                    </a:cubicBezTo>
                    <a:cubicBezTo>
                      <a:pt x="137" y="32"/>
                      <a:pt x="134" y="34"/>
                      <a:pt x="130" y="34"/>
                    </a:cubicBezTo>
                    <a:cubicBezTo>
                      <a:pt x="38" y="34"/>
                      <a:pt x="38" y="34"/>
                      <a:pt x="38" y="34"/>
                    </a:cubicBezTo>
                    <a:cubicBezTo>
                      <a:pt x="38" y="75"/>
                      <a:pt x="38" y="75"/>
                      <a:pt x="38" y="75"/>
                    </a:cubicBezTo>
                    <a:cubicBezTo>
                      <a:pt x="121" y="75"/>
                      <a:pt x="121" y="75"/>
                      <a:pt x="121" y="75"/>
                    </a:cubicBezTo>
                    <a:cubicBezTo>
                      <a:pt x="124" y="75"/>
                      <a:pt x="128" y="77"/>
                      <a:pt x="128" y="82"/>
                    </a:cubicBezTo>
                    <a:lnTo>
                      <a:pt x="128" y="10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grpSp>
      </p:grpSp>
      <p:grpSp>
        <p:nvGrpSpPr>
          <p:cNvPr id="19" name="Mindshare Business Planning"/>
          <p:cNvGrpSpPr>
            <a:grpSpLocks noChangeAspect="1"/>
          </p:cNvGrpSpPr>
          <p:nvPr userDrawn="1"/>
        </p:nvGrpSpPr>
        <p:grpSpPr>
          <a:xfrm>
            <a:off x="2209800" y="368300"/>
            <a:ext cx="1933420" cy="130025"/>
            <a:chOff x="3276602" y="4568783"/>
            <a:chExt cx="4060837" cy="273095"/>
          </a:xfrm>
        </p:grpSpPr>
        <p:sp>
          <p:nvSpPr>
            <p:cNvPr id="25" name="AutoShape 22"/>
            <p:cNvSpPr>
              <a:spLocks noChangeAspect="1" noChangeArrowheads="1" noTextEdit="1"/>
            </p:cNvSpPr>
            <p:nvPr/>
          </p:nvSpPr>
          <p:spPr bwMode="auto">
            <a:xfrm>
              <a:off x="3276610" y="4571983"/>
              <a:ext cx="4060829" cy="26987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24"/>
            <p:cNvSpPr>
              <a:spLocks noEditPoints="1"/>
            </p:cNvSpPr>
            <p:nvPr/>
          </p:nvSpPr>
          <p:spPr bwMode="auto">
            <a:xfrm>
              <a:off x="5765810" y="4568811"/>
              <a:ext cx="296863" cy="269873"/>
            </a:xfrm>
            <a:custGeom>
              <a:avLst/>
              <a:gdLst/>
              <a:ahLst/>
              <a:cxnLst>
                <a:cxn ang="0">
                  <a:pos x="0" y="69"/>
                </a:cxn>
                <a:cxn ang="0">
                  <a:pos x="15" y="69"/>
                </a:cxn>
                <a:cxn ang="0">
                  <a:pos x="24" y="50"/>
                </a:cxn>
                <a:cxn ang="0">
                  <a:pos x="54" y="50"/>
                </a:cxn>
                <a:cxn ang="0">
                  <a:pos x="63" y="69"/>
                </a:cxn>
                <a:cxn ang="0">
                  <a:pos x="79" y="69"/>
                </a:cxn>
                <a:cxn ang="0">
                  <a:pos x="45" y="3"/>
                </a:cxn>
                <a:cxn ang="0">
                  <a:pos x="39" y="0"/>
                </a:cxn>
                <a:cxn ang="0">
                  <a:pos x="39" y="0"/>
                </a:cxn>
                <a:cxn ang="0">
                  <a:pos x="32" y="3"/>
                </a:cxn>
                <a:cxn ang="0">
                  <a:pos x="0" y="69"/>
                </a:cxn>
                <a:cxn ang="0">
                  <a:pos x="39" y="20"/>
                </a:cxn>
                <a:cxn ang="0">
                  <a:pos x="48" y="39"/>
                </a:cxn>
                <a:cxn ang="0">
                  <a:pos x="29" y="39"/>
                </a:cxn>
                <a:cxn ang="0">
                  <a:pos x="39" y="20"/>
                </a:cxn>
              </a:cxnLst>
              <a:rect l="0" t="0" r="r" b="b"/>
              <a:pathLst>
                <a:path w="79" h="69">
                  <a:moveTo>
                    <a:pt x="0" y="69"/>
                  </a:moveTo>
                  <a:cubicBezTo>
                    <a:pt x="15" y="69"/>
                    <a:pt x="15" y="69"/>
                    <a:pt x="15" y="69"/>
                  </a:cubicBezTo>
                  <a:cubicBezTo>
                    <a:pt x="24" y="50"/>
                    <a:pt x="24" y="50"/>
                    <a:pt x="24" y="50"/>
                  </a:cubicBezTo>
                  <a:cubicBezTo>
                    <a:pt x="54" y="50"/>
                    <a:pt x="54" y="50"/>
                    <a:pt x="54" y="50"/>
                  </a:cubicBezTo>
                  <a:cubicBezTo>
                    <a:pt x="63" y="69"/>
                    <a:pt x="63" y="69"/>
                    <a:pt x="63" y="69"/>
                  </a:cubicBezTo>
                  <a:cubicBezTo>
                    <a:pt x="79" y="69"/>
                    <a:pt x="79" y="69"/>
                    <a:pt x="79" y="69"/>
                  </a:cubicBezTo>
                  <a:cubicBezTo>
                    <a:pt x="45" y="3"/>
                    <a:pt x="45" y="3"/>
                    <a:pt x="45" y="3"/>
                  </a:cubicBezTo>
                  <a:cubicBezTo>
                    <a:pt x="44" y="1"/>
                    <a:pt x="41" y="0"/>
                    <a:pt x="39" y="0"/>
                  </a:cubicBezTo>
                  <a:cubicBezTo>
                    <a:pt x="39" y="0"/>
                    <a:pt x="39" y="0"/>
                    <a:pt x="39" y="0"/>
                  </a:cubicBezTo>
                  <a:cubicBezTo>
                    <a:pt x="36" y="0"/>
                    <a:pt x="34" y="1"/>
                    <a:pt x="32" y="3"/>
                  </a:cubicBezTo>
                  <a:lnTo>
                    <a:pt x="0" y="69"/>
                  </a:lnTo>
                  <a:close/>
                  <a:moveTo>
                    <a:pt x="39" y="20"/>
                  </a:moveTo>
                  <a:cubicBezTo>
                    <a:pt x="48" y="39"/>
                    <a:pt x="48" y="39"/>
                    <a:pt x="48" y="39"/>
                  </a:cubicBezTo>
                  <a:cubicBezTo>
                    <a:pt x="29" y="39"/>
                    <a:pt x="29" y="39"/>
                    <a:pt x="29" y="39"/>
                  </a:cubicBezTo>
                  <a:lnTo>
                    <a:pt x="39" y="20"/>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27" name="Freeform 25"/>
            <p:cNvSpPr>
              <a:spLocks/>
            </p:cNvSpPr>
            <p:nvPr/>
          </p:nvSpPr>
          <p:spPr bwMode="auto">
            <a:xfrm>
              <a:off x="4483112" y="4568809"/>
              <a:ext cx="188913" cy="269873"/>
            </a:xfrm>
            <a:custGeom>
              <a:avLst/>
              <a:gdLst/>
              <a:ahLst/>
              <a:cxnLst>
                <a:cxn ang="0">
                  <a:pos x="47" y="38"/>
                </a:cxn>
                <a:cxn ang="0">
                  <a:pos x="44" y="40"/>
                </a:cxn>
                <a:cxn ang="0">
                  <a:pos x="14" y="40"/>
                </a:cxn>
                <a:cxn ang="0">
                  <a:pos x="14" y="56"/>
                </a:cxn>
                <a:cxn ang="0">
                  <a:pos x="50" y="56"/>
                </a:cxn>
                <a:cxn ang="0">
                  <a:pos x="50" y="69"/>
                </a:cxn>
                <a:cxn ang="0">
                  <a:pos x="0" y="69"/>
                </a:cxn>
                <a:cxn ang="0">
                  <a:pos x="0" y="7"/>
                </a:cxn>
                <a:cxn ang="0">
                  <a:pos x="7" y="0"/>
                </a:cxn>
                <a:cxn ang="0">
                  <a:pos x="47" y="0"/>
                </a:cxn>
                <a:cxn ang="0">
                  <a:pos x="50" y="3"/>
                </a:cxn>
                <a:cxn ang="0">
                  <a:pos x="50" y="10"/>
                </a:cxn>
                <a:cxn ang="0">
                  <a:pos x="47" y="13"/>
                </a:cxn>
                <a:cxn ang="0">
                  <a:pos x="14" y="13"/>
                </a:cxn>
                <a:cxn ang="0">
                  <a:pos x="14" y="28"/>
                </a:cxn>
                <a:cxn ang="0">
                  <a:pos x="44" y="28"/>
                </a:cxn>
                <a:cxn ang="0">
                  <a:pos x="47" y="30"/>
                </a:cxn>
                <a:cxn ang="0">
                  <a:pos x="47" y="38"/>
                </a:cxn>
              </a:cxnLst>
              <a:rect l="0" t="0" r="r" b="b"/>
              <a:pathLst>
                <a:path w="50" h="69">
                  <a:moveTo>
                    <a:pt x="47" y="38"/>
                  </a:moveTo>
                  <a:cubicBezTo>
                    <a:pt x="47" y="39"/>
                    <a:pt x="45" y="40"/>
                    <a:pt x="44" y="40"/>
                  </a:cubicBezTo>
                  <a:cubicBezTo>
                    <a:pt x="14" y="40"/>
                    <a:pt x="14" y="40"/>
                    <a:pt x="14" y="40"/>
                  </a:cubicBezTo>
                  <a:cubicBezTo>
                    <a:pt x="14" y="56"/>
                    <a:pt x="14" y="56"/>
                    <a:pt x="14" y="56"/>
                  </a:cubicBezTo>
                  <a:cubicBezTo>
                    <a:pt x="50" y="56"/>
                    <a:pt x="50" y="56"/>
                    <a:pt x="50" y="56"/>
                  </a:cubicBezTo>
                  <a:cubicBezTo>
                    <a:pt x="50" y="69"/>
                    <a:pt x="50" y="69"/>
                    <a:pt x="50" y="69"/>
                  </a:cubicBezTo>
                  <a:cubicBezTo>
                    <a:pt x="0" y="69"/>
                    <a:pt x="0" y="69"/>
                    <a:pt x="0" y="69"/>
                  </a:cubicBezTo>
                  <a:cubicBezTo>
                    <a:pt x="0" y="7"/>
                    <a:pt x="0" y="7"/>
                    <a:pt x="0" y="7"/>
                  </a:cubicBezTo>
                  <a:cubicBezTo>
                    <a:pt x="0" y="3"/>
                    <a:pt x="3" y="0"/>
                    <a:pt x="7" y="0"/>
                  </a:cubicBezTo>
                  <a:cubicBezTo>
                    <a:pt x="47" y="0"/>
                    <a:pt x="47" y="0"/>
                    <a:pt x="47" y="0"/>
                  </a:cubicBezTo>
                  <a:cubicBezTo>
                    <a:pt x="49" y="0"/>
                    <a:pt x="50" y="1"/>
                    <a:pt x="50" y="3"/>
                  </a:cubicBezTo>
                  <a:cubicBezTo>
                    <a:pt x="50" y="10"/>
                    <a:pt x="50" y="10"/>
                    <a:pt x="50" y="10"/>
                  </a:cubicBezTo>
                  <a:cubicBezTo>
                    <a:pt x="50" y="12"/>
                    <a:pt x="49" y="13"/>
                    <a:pt x="47" y="13"/>
                  </a:cubicBezTo>
                  <a:cubicBezTo>
                    <a:pt x="14" y="13"/>
                    <a:pt x="14" y="13"/>
                    <a:pt x="14" y="13"/>
                  </a:cubicBezTo>
                  <a:cubicBezTo>
                    <a:pt x="14" y="28"/>
                    <a:pt x="14" y="28"/>
                    <a:pt x="14" y="28"/>
                  </a:cubicBezTo>
                  <a:cubicBezTo>
                    <a:pt x="44" y="28"/>
                    <a:pt x="44" y="28"/>
                    <a:pt x="44" y="28"/>
                  </a:cubicBezTo>
                  <a:cubicBezTo>
                    <a:pt x="45" y="28"/>
                    <a:pt x="47" y="29"/>
                    <a:pt x="47" y="30"/>
                  </a:cubicBezTo>
                  <a:lnTo>
                    <a:pt x="47" y="3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28" name="Freeform 26"/>
            <p:cNvSpPr>
              <a:spLocks/>
            </p:cNvSpPr>
            <p:nvPr/>
          </p:nvSpPr>
          <p:spPr bwMode="auto">
            <a:xfrm>
              <a:off x="6686560" y="4568783"/>
              <a:ext cx="52387" cy="269872"/>
            </a:xfrm>
            <a:custGeom>
              <a:avLst/>
              <a:gdLst/>
              <a:ahLst/>
              <a:cxnLst>
                <a:cxn ang="0">
                  <a:pos x="0" y="69"/>
                </a:cxn>
                <a:cxn ang="0">
                  <a:pos x="14" y="69"/>
                </a:cxn>
                <a:cxn ang="0">
                  <a:pos x="14" y="5"/>
                </a:cxn>
                <a:cxn ang="0">
                  <a:pos x="9" y="0"/>
                </a:cxn>
                <a:cxn ang="0">
                  <a:pos x="4" y="0"/>
                </a:cxn>
                <a:cxn ang="0">
                  <a:pos x="0" y="5"/>
                </a:cxn>
                <a:cxn ang="0">
                  <a:pos x="0" y="69"/>
                </a:cxn>
              </a:cxnLst>
              <a:rect l="0" t="0" r="r" b="b"/>
              <a:pathLst>
                <a:path w="14" h="69">
                  <a:moveTo>
                    <a:pt x="0" y="69"/>
                  </a:moveTo>
                  <a:cubicBezTo>
                    <a:pt x="14" y="69"/>
                    <a:pt x="14" y="69"/>
                    <a:pt x="14" y="69"/>
                  </a:cubicBezTo>
                  <a:cubicBezTo>
                    <a:pt x="14" y="5"/>
                    <a:pt x="14" y="5"/>
                    <a:pt x="14" y="5"/>
                  </a:cubicBezTo>
                  <a:cubicBezTo>
                    <a:pt x="14" y="2"/>
                    <a:pt x="12" y="0"/>
                    <a:pt x="9" y="0"/>
                  </a:cubicBezTo>
                  <a:cubicBezTo>
                    <a:pt x="4" y="0"/>
                    <a:pt x="4" y="0"/>
                    <a:pt x="4" y="0"/>
                  </a:cubicBezTo>
                  <a:cubicBezTo>
                    <a:pt x="2" y="0"/>
                    <a:pt x="0" y="2"/>
                    <a:pt x="0" y="5"/>
                  </a:cubicBezTo>
                  <a:lnTo>
                    <a:pt x="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29" name="Freeform 27"/>
            <p:cNvSpPr>
              <a:spLocks/>
            </p:cNvSpPr>
            <p:nvPr/>
          </p:nvSpPr>
          <p:spPr bwMode="auto">
            <a:xfrm>
              <a:off x="4081469" y="4568801"/>
              <a:ext cx="49212" cy="269873"/>
            </a:xfrm>
            <a:custGeom>
              <a:avLst/>
              <a:gdLst/>
              <a:ahLst/>
              <a:cxnLst>
                <a:cxn ang="0">
                  <a:pos x="0" y="69"/>
                </a:cxn>
                <a:cxn ang="0">
                  <a:pos x="13" y="69"/>
                </a:cxn>
                <a:cxn ang="0">
                  <a:pos x="13" y="5"/>
                </a:cxn>
                <a:cxn ang="0">
                  <a:pos x="9" y="0"/>
                </a:cxn>
                <a:cxn ang="0">
                  <a:pos x="4" y="0"/>
                </a:cxn>
                <a:cxn ang="0">
                  <a:pos x="0" y="5"/>
                </a:cxn>
                <a:cxn ang="0">
                  <a:pos x="0" y="69"/>
                </a:cxn>
              </a:cxnLst>
              <a:rect l="0" t="0" r="r" b="b"/>
              <a:pathLst>
                <a:path w="13" h="69">
                  <a:moveTo>
                    <a:pt x="0" y="69"/>
                  </a:moveTo>
                  <a:cubicBezTo>
                    <a:pt x="13" y="69"/>
                    <a:pt x="13" y="69"/>
                    <a:pt x="13" y="69"/>
                  </a:cubicBezTo>
                  <a:cubicBezTo>
                    <a:pt x="13" y="5"/>
                    <a:pt x="13" y="5"/>
                    <a:pt x="13" y="5"/>
                  </a:cubicBezTo>
                  <a:cubicBezTo>
                    <a:pt x="13" y="2"/>
                    <a:pt x="11" y="0"/>
                    <a:pt x="9" y="0"/>
                  </a:cubicBezTo>
                  <a:cubicBezTo>
                    <a:pt x="4" y="0"/>
                    <a:pt x="4" y="0"/>
                    <a:pt x="4" y="0"/>
                  </a:cubicBezTo>
                  <a:cubicBezTo>
                    <a:pt x="2" y="0"/>
                    <a:pt x="0" y="2"/>
                    <a:pt x="0" y="5"/>
                  </a:cubicBezTo>
                  <a:lnTo>
                    <a:pt x="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0" name="Freeform 28"/>
            <p:cNvSpPr>
              <a:spLocks/>
            </p:cNvSpPr>
            <p:nvPr/>
          </p:nvSpPr>
          <p:spPr bwMode="auto">
            <a:xfrm>
              <a:off x="6777048" y="4568803"/>
              <a:ext cx="263527" cy="269873"/>
            </a:xfrm>
            <a:custGeom>
              <a:avLst/>
              <a:gdLst/>
              <a:ahLst/>
              <a:cxnLst>
                <a:cxn ang="0">
                  <a:pos x="70" y="69"/>
                </a:cxn>
                <a:cxn ang="0">
                  <a:pos x="60" y="69"/>
                </a:cxn>
                <a:cxn ang="0">
                  <a:pos x="14" y="23"/>
                </a:cxn>
                <a:cxn ang="0">
                  <a:pos x="14" y="69"/>
                </a:cxn>
                <a:cxn ang="0">
                  <a:pos x="0" y="69"/>
                </a:cxn>
                <a:cxn ang="0">
                  <a:pos x="0" y="8"/>
                </a:cxn>
                <a:cxn ang="0">
                  <a:pos x="7" y="0"/>
                </a:cxn>
                <a:cxn ang="0">
                  <a:pos x="7" y="0"/>
                </a:cxn>
                <a:cxn ang="0">
                  <a:pos x="13" y="2"/>
                </a:cxn>
                <a:cxn ang="0">
                  <a:pos x="56" y="45"/>
                </a:cxn>
                <a:cxn ang="0">
                  <a:pos x="56" y="5"/>
                </a:cxn>
                <a:cxn ang="0">
                  <a:pos x="60" y="0"/>
                </a:cxn>
                <a:cxn ang="0">
                  <a:pos x="65" y="0"/>
                </a:cxn>
                <a:cxn ang="0">
                  <a:pos x="70" y="5"/>
                </a:cxn>
                <a:cxn ang="0">
                  <a:pos x="70" y="69"/>
                </a:cxn>
              </a:cxnLst>
              <a:rect l="0" t="0" r="r" b="b"/>
              <a:pathLst>
                <a:path w="70" h="69">
                  <a:moveTo>
                    <a:pt x="70" y="69"/>
                  </a:moveTo>
                  <a:cubicBezTo>
                    <a:pt x="60" y="69"/>
                    <a:pt x="60" y="69"/>
                    <a:pt x="60" y="69"/>
                  </a:cubicBezTo>
                  <a:cubicBezTo>
                    <a:pt x="14" y="23"/>
                    <a:pt x="14" y="23"/>
                    <a:pt x="14" y="23"/>
                  </a:cubicBezTo>
                  <a:cubicBezTo>
                    <a:pt x="14" y="69"/>
                    <a:pt x="14" y="69"/>
                    <a:pt x="14" y="69"/>
                  </a:cubicBezTo>
                  <a:cubicBezTo>
                    <a:pt x="0" y="69"/>
                    <a:pt x="0" y="69"/>
                    <a:pt x="0" y="69"/>
                  </a:cubicBezTo>
                  <a:cubicBezTo>
                    <a:pt x="0" y="8"/>
                    <a:pt x="0" y="8"/>
                    <a:pt x="0" y="8"/>
                  </a:cubicBezTo>
                  <a:cubicBezTo>
                    <a:pt x="0" y="3"/>
                    <a:pt x="3" y="0"/>
                    <a:pt x="7" y="0"/>
                  </a:cubicBezTo>
                  <a:cubicBezTo>
                    <a:pt x="7" y="0"/>
                    <a:pt x="7" y="0"/>
                    <a:pt x="7" y="0"/>
                  </a:cubicBezTo>
                  <a:cubicBezTo>
                    <a:pt x="10" y="0"/>
                    <a:pt x="12" y="1"/>
                    <a:pt x="13" y="2"/>
                  </a:cubicBezTo>
                  <a:cubicBezTo>
                    <a:pt x="56" y="45"/>
                    <a:pt x="56" y="45"/>
                    <a:pt x="56" y="45"/>
                  </a:cubicBezTo>
                  <a:cubicBezTo>
                    <a:pt x="56" y="5"/>
                    <a:pt x="56" y="5"/>
                    <a:pt x="56" y="5"/>
                  </a:cubicBezTo>
                  <a:cubicBezTo>
                    <a:pt x="56" y="2"/>
                    <a:pt x="58" y="0"/>
                    <a:pt x="60" y="0"/>
                  </a:cubicBezTo>
                  <a:cubicBezTo>
                    <a:pt x="65" y="0"/>
                    <a:pt x="65" y="0"/>
                    <a:pt x="65" y="0"/>
                  </a:cubicBezTo>
                  <a:cubicBezTo>
                    <a:pt x="67" y="0"/>
                    <a:pt x="70" y="2"/>
                    <a:pt x="70" y="5"/>
                  </a:cubicBezTo>
                  <a:lnTo>
                    <a:pt x="7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1" name="Freeform 29"/>
            <p:cNvSpPr>
              <a:spLocks/>
            </p:cNvSpPr>
            <p:nvPr/>
          </p:nvSpPr>
          <p:spPr bwMode="auto">
            <a:xfrm>
              <a:off x="6381758" y="4568803"/>
              <a:ext cx="263527" cy="269873"/>
            </a:xfrm>
            <a:custGeom>
              <a:avLst/>
              <a:gdLst/>
              <a:ahLst/>
              <a:cxnLst>
                <a:cxn ang="0">
                  <a:pos x="70" y="69"/>
                </a:cxn>
                <a:cxn ang="0">
                  <a:pos x="60" y="69"/>
                </a:cxn>
                <a:cxn ang="0">
                  <a:pos x="14" y="23"/>
                </a:cxn>
                <a:cxn ang="0">
                  <a:pos x="14" y="69"/>
                </a:cxn>
                <a:cxn ang="0">
                  <a:pos x="0" y="69"/>
                </a:cxn>
                <a:cxn ang="0">
                  <a:pos x="0" y="8"/>
                </a:cxn>
                <a:cxn ang="0">
                  <a:pos x="8" y="0"/>
                </a:cxn>
                <a:cxn ang="0">
                  <a:pos x="8" y="0"/>
                </a:cxn>
                <a:cxn ang="0">
                  <a:pos x="13" y="2"/>
                </a:cxn>
                <a:cxn ang="0">
                  <a:pos x="56" y="45"/>
                </a:cxn>
                <a:cxn ang="0">
                  <a:pos x="56" y="5"/>
                </a:cxn>
                <a:cxn ang="0">
                  <a:pos x="61" y="0"/>
                </a:cxn>
                <a:cxn ang="0">
                  <a:pos x="65" y="0"/>
                </a:cxn>
                <a:cxn ang="0">
                  <a:pos x="70" y="5"/>
                </a:cxn>
                <a:cxn ang="0">
                  <a:pos x="70" y="69"/>
                </a:cxn>
              </a:cxnLst>
              <a:rect l="0" t="0" r="r" b="b"/>
              <a:pathLst>
                <a:path w="70" h="69">
                  <a:moveTo>
                    <a:pt x="70" y="69"/>
                  </a:moveTo>
                  <a:cubicBezTo>
                    <a:pt x="60" y="69"/>
                    <a:pt x="60" y="69"/>
                    <a:pt x="60" y="69"/>
                  </a:cubicBezTo>
                  <a:cubicBezTo>
                    <a:pt x="14" y="23"/>
                    <a:pt x="14" y="23"/>
                    <a:pt x="14" y="23"/>
                  </a:cubicBezTo>
                  <a:cubicBezTo>
                    <a:pt x="14" y="69"/>
                    <a:pt x="14" y="69"/>
                    <a:pt x="14" y="69"/>
                  </a:cubicBezTo>
                  <a:cubicBezTo>
                    <a:pt x="0" y="69"/>
                    <a:pt x="0" y="69"/>
                    <a:pt x="0" y="69"/>
                  </a:cubicBezTo>
                  <a:cubicBezTo>
                    <a:pt x="0" y="8"/>
                    <a:pt x="0" y="8"/>
                    <a:pt x="0" y="8"/>
                  </a:cubicBezTo>
                  <a:cubicBezTo>
                    <a:pt x="0" y="3"/>
                    <a:pt x="4" y="0"/>
                    <a:pt x="8" y="0"/>
                  </a:cubicBezTo>
                  <a:cubicBezTo>
                    <a:pt x="8" y="0"/>
                    <a:pt x="8" y="0"/>
                    <a:pt x="8" y="0"/>
                  </a:cubicBezTo>
                  <a:cubicBezTo>
                    <a:pt x="10" y="0"/>
                    <a:pt x="12" y="1"/>
                    <a:pt x="13" y="2"/>
                  </a:cubicBezTo>
                  <a:cubicBezTo>
                    <a:pt x="56" y="45"/>
                    <a:pt x="56" y="45"/>
                    <a:pt x="56" y="45"/>
                  </a:cubicBezTo>
                  <a:cubicBezTo>
                    <a:pt x="56" y="5"/>
                    <a:pt x="56" y="5"/>
                    <a:pt x="56" y="5"/>
                  </a:cubicBezTo>
                  <a:cubicBezTo>
                    <a:pt x="56" y="2"/>
                    <a:pt x="58" y="0"/>
                    <a:pt x="61" y="0"/>
                  </a:cubicBezTo>
                  <a:cubicBezTo>
                    <a:pt x="65" y="0"/>
                    <a:pt x="65" y="0"/>
                    <a:pt x="65" y="0"/>
                  </a:cubicBezTo>
                  <a:cubicBezTo>
                    <a:pt x="68" y="0"/>
                    <a:pt x="70" y="2"/>
                    <a:pt x="70" y="5"/>
                  </a:cubicBezTo>
                  <a:lnTo>
                    <a:pt x="7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2" name="Freeform 30"/>
            <p:cNvSpPr>
              <a:spLocks/>
            </p:cNvSpPr>
            <p:nvPr/>
          </p:nvSpPr>
          <p:spPr bwMode="auto">
            <a:xfrm>
              <a:off x="6084896" y="4568805"/>
              <a:ext cx="260351" cy="269873"/>
            </a:xfrm>
            <a:custGeom>
              <a:avLst/>
              <a:gdLst/>
              <a:ahLst/>
              <a:cxnLst>
                <a:cxn ang="0">
                  <a:pos x="69" y="69"/>
                </a:cxn>
                <a:cxn ang="0">
                  <a:pos x="59" y="69"/>
                </a:cxn>
                <a:cxn ang="0">
                  <a:pos x="14" y="23"/>
                </a:cxn>
                <a:cxn ang="0">
                  <a:pos x="14" y="69"/>
                </a:cxn>
                <a:cxn ang="0">
                  <a:pos x="0" y="69"/>
                </a:cxn>
                <a:cxn ang="0">
                  <a:pos x="0" y="8"/>
                </a:cxn>
                <a:cxn ang="0">
                  <a:pos x="7" y="0"/>
                </a:cxn>
                <a:cxn ang="0">
                  <a:pos x="7" y="0"/>
                </a:cxn>
                <a:cxn ang="0">
                  <a:pos x="13" y="2"/>
                </a:cxn>
                <a:cxn ang="0">
                  <a:pos x="55" y="45"/>
                </a:cxn>
                <a:cxn ang="0">
                  <a:pos x="55" y="5"/>
                </a:cxn>
                <a:cxn ang="0">
                  <a:pos x="60" y="0"/>
                </a:cxn>
                <a:cxn ang="0">
                  <a:pos x="65" y="0"/>
                </a:cxn>
                <a:cxn ang="0">
                  <a:pos x="69" y="5"/>
                </a:cxn>
                <a:cxn ang="0">
                  <a:pos x="69" y="69"/>
                </a:cxn>
              </a:cxnLst>
              <a:rect l="0" t="0" r="r" b="b"/>
              <a:pathLst>
                <a:path w="69" h="69">
                  <a:moveTo>
                    <a:pt x="69" y="69"/>
                  </a:moveTo>
                  <a:cubicBezTo>
                    <a:pt x="59" y="69"/>
                    <a:pt x="59" y="69"/>
                    <a:pt x="59" y="69"/>
                  </a:cubicBezTo>
                  <a:cubicBezTo>
                    <a:pt x="14" y="23"/>
                    <a:pt x="14" y="23"/>
                    <a:pt x="14" y="23"/>
                  </a:cubicBezTo>
                  <a:cubicBezTo>
                    <a:pt x="14" y="69"/>
                    <a:pt x="14" y="69"/>
                    <a:pt x="14" y="69"/>
                  </a:cubicBezTo>
                  <a:cubicBezTo>
                    <a:pt x="0" y="69"/>
                    <a:pt x="0" y="69"/>
                    <a:pt x="0" y="69"/>
                  </a:cubicBezTo>
                  <a:cubicBezTo>
                    <a:pt x="0" y="8"/>
                    <a:pt x="0" y="8"/>
                    <a:pt x="0" y="8"/>
                  </a:cubicBezTo>
                  <a:cubicBezTo>
                    <a:pt x="0" y="3"/>
                    <a:pt x="3" y="0"/>
                    <a:pt x="7" y="0"/>
                  </a:cubicBezTo>
                  <a:cubicBezTo>
                    <a:pt x="7" y="0"/>
                    <a:pt x="7" y="0"/>
                    <a:pt x="7" y="0"/>
                  </a:cubicBezTo>
                  <a:cubicBezTo>
                    <a:pt x="9" y="0"/>
                    <a:pt x="11" y="1"/>
                    <a:pt x="13" y="2"/>
                  </a:cubicBezTo>
                  <a:cubicBezTo>
                    <a:pt x="55" y="45"/>
                    <a:pt x="55" y="45"/>
                    <a:pt x="55" y="45"/>
                  </a:cubicBezTo>
                  <a:cubicBezTo>
                    <a:pt x="55" y="5"/>
                    <a:pt x="55" y="5"/>
                    <a:pt x="55" y="5"/>
                  </a:cubicBezTo>
                  <a:cubicBezTo>
                    <a:pt x="55" y="2"/>
                    <a:pt x="57" y="0"/>
                    <a:pt x="60" y="0"/>
                  </a:cubicBezTo>
                  <a:cubicBezTo>
                    <a:pt x="65" y="0"/>
                    <a:pt x="65" y="0"/>
                    <a:pt x="65" y="0"/>
                  </a:cubicBezTo>
                  <a:cubicBezTo>
                    <a:pt x="67" y="0"/>
                    <a:pt x="69" y="2"/>
                    <a:pt x="69" y="5"/>
                  </a:cubicBezTo>
                  <a:lnTo>
                    <a:pt x="69"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3" name="Freeform 31"/>
            <p:cNvSpPr>
              <a:spLocks/>
            </p:cNvSpPr>
            <p:nvPr/>
          </p:nvSpPr>
          <p:spPr bwMode="auto">
            <a:xfrm>
              <a:off x="4175132" y="4568803"/>
              <a:ext cx="263527" cy="269873"/>
            </a:xfrm>
            <a:custGeom>
              <a:avLst/>
              <a:gdLst/>
              <a:ahLst/>
              <a:cxnLst>
                <a:cxn ang="0">
                  <a:pos x="70" y="69"/>
                </a:cxn>
                <a:cxn ang="0">
                  <a:pos x="60" y="69"/>
                </a:cxn>
                <a:cxn ang="0">
                  <a:pos x="14" y="23"/>
                </a:cxn>
                <a:cxn ang="0">
                  <a:pos x="14" y="69"/>
                </a:cxn>
                <a:cxn ang="0">
                  <a:pos x="0" y="69"/>
                </a:cxn>
                <a:cxn ang="0">
                  <a:pos x="0" y="8"/>
                </a:cxn>
                <a:cxn ang="0">
                  <a:pos x="8" y="0"/>
                </a:cxn>
                <a:cxn ang="0">
                  <a:pos x="8" y="0"/>
                </a:cxn>
                <a:cxn ang="0">
                  <a:pos x="13" y="2"/>
                </a:cxn>
                <a:cxn ang="0">
                  <a:pos x="56" y="45"/>
                </a:cxn>
                <a:cxn ang="0">
                  <a:pos x="56" y="5"/>
                </a:cxn>
                <a:cxn ang="0">
                  <a:pos x="61" y="0"/>
                </a:cxn>
                <a:cxn ang="0">
                  <a:pos x="65" y="0"/>
                </a:cxn>
                <a:cxn ang="0">
                  <a:pos x="70" y="5"/>
                </a:cxn>
                <a:cxn ang="0">
                  <a:pos x="70" y="69"/>
                </a:cxn>
              </a:cxnLst>
              <a:rect l="0" t="0" r="r" b="b"/>
              <a:pathLst>
                <a:path w="70" h="69">
                  <a:moveTo>
                    <a:pt x="70" y="69"/>
                  </a:moveTo>
                  <a:cubicBezTo>
                    <a:pt x="60" y="69"/>
                    <a:pt x="60" y="69"/>
                    <a:pt x="60" y="69"/>
                  </a:cubicBezTo>
                  <a:cubicBezTo>
                    <a:pt x="14" y="23"/>
                    <a:pt x="14" y="23"/>
                    <a:pt x="14" y="23"/>
                  </a:cubicBezTo>
                  <a:cubicBezTo>
                    <a:pt x="14" y="69"/>
                    <a:pt x="14" y="69"/>
                    <a:pt x="14" y="69"/>
                  </a:cubicBezTo>
                  <a:cubicBezTo>
                    <a:pt x="0" y="69"/>
                    <a:pt x="0" y="69"/>
                    <a:pt x="0" y="69"/>
                  </a:cubicBezTo>
                  <a:cubicBezTo>
                    <a:pt x="0" y="8"/>
                    <a:pt x="0" y="8"/>
                    <a:pt x="0" y="8"/>
                  </a:cubicBezTo>
                  <a:cubicBezTo>
                    <a:pt x="0" y="3"/>
                    <a:pt x="4" y="0"/>
                    <a:pt x="8" y="0"/>
                  </a:cubicBezTo>
                  <a:cubicBezTo>
                    <a:pt x="8" y="0"/>
                    <a:pt x="8" y="0"/>
                    <a:pt x="8" y="0"/>
                  </a:cubicBezTo>
                  <a:cubicBezTo>
                    <a:pt x="10" y="0"/>
                    <a:pt x="12" y="1"/>
                    <a:pt x="13" y="2"/>
                  </a:cubicBezTo>
                  <a:cubicBezTo>
                    <a:pt x="56" y="45"/>
                    <a:pt x="56" y="45"/>
                    <a:pt x="56" y="45"/>
                  </a:cubicBezTo>
                  <a:cubicBezTo>
                    <a:pt x="56" y="5"/>
                    <a:pt x="56" y="5"/>
                    <a:pt x="56" y="5"/>
                  </a:cubicBezTo>
                  <a:cubicBezTo>
                    <a:pt x="56" y="2"/>
                    <a:pt x="58" y="0"/>
                    <a:pt x="61" y="0"/>
                  </a:cubicBezTo>
                  <a:cubicBezTo>
                    <a:pt x="65" y="0"/>
                    <a:pt x="65" y="0"/>
                    <a:pt x="65" y="0"/>
                  </a:cubicBezTo>
                  <a:cubicBezTo>
                    <a:pt x="68" y="0"/>
                    <a:pt x="70" y="2"/>
                    <a:pt x="70" y="5"/>
                  </a:cubicBezTo>
                  <a:lnTo>
                    <a:pt x="7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4" name="Freeform 32"/>
            <p:cNvSpPr>
              <a:spLocks/>
            </p:cNvSpPr>
            <p:nvPr/>
          </p:nvSpPr>
          <p:spPr bwMode="auto">
            <a:xfrm>
              <a:off x="4957769" y="4568828"/>
              <a:ext cx="225425" cy="273050"/>
            </a:xfrm>
            <a:custGeom>
              <a:avLst/>
              <a:gdLst/>
              <a:ahLst/>
              <a:cxnLst>
                <a:cxn ang="0">
                  <a:pos x="33" y="28"/>
                </a:cxn>
                <a:cxn ang="0">
                  <a:pos x="17" y="20"/>
                </a:cxn>
                <a:cxn ang="0">
                  <a:pos x="31" y="12"/>
                </a:cxn>
                <a:cxn ang="0">
                  <a:pos x="51" y="17"/>
                </a:cxn>
                <a:cxn ang="0">
                  <a:pos x="52" y="18"/>
                </a:cxn>
                <a:cxn ang="0">
                  <a:pos x="53" y="17"/>
                </a:cxn>
                <a:cxn ang="0">
                  <a:pos x="57" y="8"/>
                </a:cxn>
                <a:cxn ang="0">
                  <a:pos x="58" y="8"/>
                </a:cxn>
                <a:cxn ang="0">
                  <a:pos x="57" y="6"/>
                </a:cxn>
                <a:cxn ang="0">
                  <a:pos x="56" y="6"/>
                </a:cxn>
                <a:cxn ang="0">
                  <a:pos x="30" y="0"/>
                </a:cxn>
                <a:cxn ang="0">
                  <a:pos x="3" y="20"/>
                </a:cxn>
                <a:cxn ang="0">
                  <a:pos x="10" y="35"/>
                </a:cxn>
                <a:cxn ang="0">
                  <a:pos x="30" y="41"/>
                </a:cxn>
                <a:cxn ang="0">
                  <a:pos x="45" y="48"/>
                </a:cxn>
                <a:cxn ang="0">
                  <a:pos x="29" y="57"/>
                </a:cxn>
                <a:cxn ang="0">
                  <a:pos x="8" y="51"/>
                </a:cxn>
                <a:cxn ang="0">
                  <a:pos x="7" y="50"/>
                </a:cxn>
                <a:cxn ang="0">
                  <a:pos x="0" y="62"/>
                </a:cxn>
                <a:cxn ang="0">
                  <a:pos x="2" y="63"/>
                </a:cxn>
                <a:cxn ang="0">
                  <a:pos x="29" y="70"/>
                </a:cxn>
                <a:cxn ang="0">
                  <a:pos x="60" y="48"/>
                </a:cxn>
                <a:cxn ang="0">
                  <a:pos x="33" y="28"/>
                </a:cxn>
              </a:cxnLst>
              <a:rect l="0" t="0" r="r" b="b"/>
              <a:pathLst>
                <a:path w="60" h="70">
                  <a:moveTo>
                    <a:pt x="33" y="28"/>
                  </a:moveTo>
                  <a:cubicBezTo>
                    <a:pt x="23" y="26"/>
                    <a:pt x="17" y="25"/>
                    <a:pt x="17" y="20"/>
                  </a:cubicBezTo>
                  <a:cubicBezTo>
                    <a:pt x="17" y="15"/>
                    <a:pt x="22" y="12"/>
                    <a:pt x="31" y="12"/>
                  </a:cubicBezTo>
                  <a:cubicBezTo>
                    <a:pt x="40" y="12"/>
                    <a:pt x="48" y="16"/>
                    <a:pt x="51" y="17"/>
                  </a:cubicBezTo>
                  <a:cubicBezTo>
                    <a:pt x="51" y="17"/>
                    <a:pt x="52" y="18"/>
                    <a:pt x="52" y="18"/>
                  </a:cubicBezTo>
                  <a:cubicBezTo>
                    <a:pt x="52" y="18"/>
                    <a:pt x="53" y="17"/>
                    <a:pt x="53" y="17"/>
                  </a:cubicBezTo>
                  <a:cubicBezTo>
                    <a:pt x="57" y="8"/>
                    <a:pt x="57" y="8"/>
                    <a:pt x="57" y="8"/>
                  </a:cubicBezTo>
                  <a:cubicBezTo>
                    <a:pt x="58" y="8"/>
                    <a:pt x="58" y="8"/>
                    <a:pt x="58" y="8"/>
                  </a:cubicBezTo>
                  <a:cubicBezTo>
                    <a:pt x="58" y="7"/>
                    <a:pt x="57" y="6"/>
                    <a:pt x="57" y="6"/>
                  </a:cubicBezTo>
                  <a:cubicBezTo>
                    <a:pt x="56" y="6"/>
                    <a:pt x="56" y="6"/>
                    <a:pt x="56" y="6"/>
                  </a:cubicBezTo>
                  <a:cubicBezTo>
                    <a:pt x="49" y="2"/>
                    <a:pt x="39" y="0"/>
                    <a:pt x="30" y="0"/>
                  </a:cubicBezTo>
                  <a:cubicBezTo>
                    <a:pt x="13" y="0"/>
                    <a:pt x="3" y="7"/>
                    <a:pt x="3" y="20"/>
                  </a:cubicBezTo>
                  <a:cubicBezTo>
                    <a:pt x="3" y="27"/>
                    <a:pt x="5" y="31"/>
                    <a:pt x="10" y="35"/>
                  </a:cubicBezTo>
                  <a:cubicBezTo>
                    <a:pt x="15" y="39"/>
                    <a:pt x="23" y="40"/>
                    <a:pt x="30" y="41"/>
                  </a:cubicBezTo>
                  <a:cubicBezTo>
                    <a:pt x="39" y="42"/>
                    <a:pt x="45" y="43"/>
                    <a:pt x="45" y="48"/>
                  </a:cubicBezTo>
                  <a:cubicBezTo>
                    <a:pt x="45" y="56"/>
                    <a:pt x="34" y="57"/>
                    <a:pt x="29" y="57"/>
                  </a:cubicBezTo>
                  <a:cubicBezTo>
                    <a:pt x="21" y="57"/>
                    <a:pt x="14" y="55"/>
                    <a:pt x="8" y="51"/>
                  </a:cubicBezTo>
                  <a:cubicBezTo>
                    <a:pt x="7" y="50"/>
                    <a:pt x="7" y="50"/>
                    <a:pt x="7" y="50"/>
                  </a:cubicBezTo>
                  <a:cubicBezTo>
                    <a:pt x="0" y="62"/>
                    <a:pt x="0" y="62"/>
                    <a:pt x="0" y="62"/>
                  </a:cubicBezTo>
                  <a:cubicBezTo>
                    <a:pt x="2" y="63"/>
                    <a:pt x="2" y="63"/>
                    <a:pt x="2" y="63"/>
                  </a:cubicBezTo>
                  <a:cubicBezTo>
                    <a:pt x="7" y="66"/>
                    <a:pt x="16" y="70"/>
                    <a:pt x="29" y="70"/>
                  </a:cubicBezTo>
                  <a:cubicBezTo>
                    <a:pt x="47" y="70"/>
                    <a:pt x="60" y="61"/>
                    <a:pt x="60" y="48"/>
                  </a:cubicBezTo>
                  <a:cubicBezTo>
                    <a:pt x="60" y="32"/>
                    <a:pt x="45" y="30"/>
                    <a:pt x="33" y="28"/>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42" name="Freeform 33"/>
            <p:cNvSpPr>
              <a:spLocks/>
            </p:cNvSpPr>
            <p:nvPr/>
          </p:nvSpPr>
          <p:spPr bwMode="auto">
            <a:xfrm>
              <a:off x="4705356" y="4568803"/>
              <a:ext cx="222249" cy="273049"/>
            </a:xfrm>
            <a:custGeom>
              <a:avLst/>
              <a:gdLst/>
              <a:ahLst/>
              <a:cxnLst>
                <a:cxn ang="0">
                  <a:pos x="33" y="28"/>
                </a:cxn>
                <a:cxn ang="0">
                  <a:pos x="17" y="20"/>
                </a:cxn>
                <a:cxn ang="0">
                  <a:pos x="31" y="12"/>
                </a:cxn>
                <a:cxn ang="0">
                  <a:pos x="51" y="17"/>
                </a:cxn>
                <a:cxn ang="0">
                  <a:pos x="52" y="18"/>
                </a:cxn>
                <a:cxn ang="0">
                  <a:pos x="53" y="17"/>
                </a:cxn>
                <a:cxn ang="0">
                  <a:pos x="57" y="8"/>
                </a:cxn>
                <a:cxn ang="0">
                  <a:pos x="57" y="8"/>
                </a:cxn>
                <a:cxn ang="0">
                  <a:pos x="56" y="6"/>
                </a:cxn>
                <a:cxn ang="0">
                  <a:pos x="56" y="6"/>
                </a:cxn>
                <a:cxn ang="0">
                  <a:pos x="30" y="0"/>
                </a:cxn>
                <a:cxn ang="0">
                  <a:pos x="3" y="20"/>
                </a:cxn>
                <a:cxn ang="0">
                  <a:pos x="9" y="35"/>
                </a:cxn>
                <a:cxn ang="0">
                  <a:pos x="30" y="41"/>
                </a:cxn>
                <a:cxn ang="0">
                  <a:pos x="45" y="48"/>
                </a:cxn>
                <a:cxn ang="0">
                  <a:pos x="29" y="57"/>
                </a:cxn>
                <a:cxn ang="0">
                  <a:pos x="8" y="51"/>
                </a:cxn>
                <a:cxn ang="0">
                  <a:pos x="7" y="50"/>
                </a:cxn>
                <a:cxn ang="0">
                  <a:pos x="0" y="62"/>
                </a:cxn>
                <a:cxn ang="0">
                  <a:pos x="2" y="63"/>
                </a:cxn>
                <a:cxn ang="0">
                  <a:pos x="29" y="70"/>
                </a:cxn>
                <a:cxn ang="0">
                  <a:pos x="59" y="48"/>
                </a:cxn>
                <a:cxn ang="0">
                  <a:pos x="33" y="28"/>
                </a:cxn>
              </a:cxnLst>
              <a:rect l="0" t="0" r="r" b="b"/>
              <a:pathLst>
                <a:path w="59" h="70">
                  <a:moveTo>
                    <a:pt x="33" y="28"/>
                  </a:moveTo>
                  <a:cubicBezTo>
                    <a:pt x="23" y="26"/>
                    <a:pt x="17" y="25"/>
                    <a:pt x="17" y="20"/>
                  </a:cubicBezTo>
                  <a:cubicBezTo>
                    <a:pt x="17" y="15"/>
                    <a:pt x="22" y="12"/>
                    <a:pt x="31" y="12"/>
                  </a:cubicBezTo>
                  <a:cubicBezTo>
                    <a:pt x="40" y="12"/>
                    <a:pt x="48" y="16"/>
                    <a:pt x="51" y="17"/>
                  </a:cubicBezTo>
                  <a:cubicBezTo>
                    <a:pt x="51" y="17"/>
                    <a:pt x="51" y="18"/>
                    <a:pt x="52" y="18"/>
                  </a:cubicBezTo>
                  <a:cubicBezTo>
                    <a:pt x="52" y="18"/>
                    <a:pt x="53" y="17"/>
                    <a:pt x="53" y="17"/>
                  </a:cubicBezTo>
                  <a:cubicBezTo>
                    <a:pt x="57" y="8"/>
                    <a:pt x="57" y="8"/>
                    <a:pt x="57" y="8"/>
                  </a:cubicBezTo>
                  <a:cubicBezTo>
                    <a:pt x="57" y="8"/>
                    <a:pt x="57" y="8"/>
                    <a:pt x="57" y="8"/>
                  </a:cubicBezTo>
                  <a:cubicBezTo>
                    <a:pt x="57" y="7"/>
                    <a:pt x="57" y="6"/>
                    <a:pt x="56" y="6"/>
                  </a:cubicBezTo>
                  <a:cubicBezTo>
                    <a:pt x="56" y="6"/>
                    <a:pt x="56" y="6"/>
                    <a:pt x="56" y="6"/>
                  </a:cubicBezTo>
                  <a:cubicBezTo>
                    <a:pt x="49" y="2"/>
                    <a:pt x="39" y="0"/>
                    <a:pt x="30" y="0"/>
                  </a:cubicBezTo>
                  <a:cubicBezTo>
                    <a:pt x="13" y="0"/>
                    <a:pt x="3" y="7"/>
                    <a:pt x="3" y="20"/>
                  </a:cubicBezTo>
                  <a:cubicBezTo>
                    <a:pt x="3" y="27"/>
                    <a:pt x="5" y="31"/>
                    <a:pt x="9" y="35"/>
                  </a:cubicBezTo>
                  <a:cubicBezTo>
                    <a:pt x="15" y="39"/>
                    <a:pt x="23" y="40"/>
                    <a:pt x="30" y="41"/>
                  </a:cubicBezTo>
                  <a:cubicBezTo>
                    <a:pt x="39" y="42"/>
                    <a:pt x="45" y="43"/>
                    <a:pt x="45" y="48"/>
                  </a:cubicBezTo>
                  <a:cubicBezTo>
                    <a:pt x="45" y="56"/>
                    <a:pt x="34" y="57"/>
                    <a:pt x="29" y="57"/>
                  </a:cubicBezTo>
                  <a:cubicBezTo>
                    <a:pt x="21" y="57"/>
                    <a:pt x="14" y="55"/>
                    <a:pt x="8" y="51"/>
                  </a:cubicBezTo>
                  <a:cubicBezTo>
                    <a:pt x="7" y="50"/>
                    <a:pt x="7" y="50"/>
                    <a:pt x="7" y="50"/>
                  </a:cubicBezTo>
                  <a:cubicBezTo>
                    <a:pt x="0" y="62"/>
                    <a:pt x="0" y="62"/>
                    <a:pt x="0" y="62"/>
                  </a:cubicBezTo>
                  <a:cubicBezTo>
                    <a:pt x="2" y="63"/>
                    <a:pt x="2" y="63"/>
                    <a:pt x="2" y="63"/>
                  </a:cubicBezTo>
                  <a:cubicBezTo>
                    <a:pt x="7" y="66"/>
                    <a:pt x="15" y="70"/>
                    <a:pt x="29" y="70"/>
                  </a:cubicBezTo>
                  <a:cubicBezTo>
                    <a:pt x="47" y="70"/>
                    <a:pt x="59" y="61"/>
                    <a:pt x="59" y="48"/>
                  </a:cubicBezTo>
                  <a:cubicBezTo>
                    <a:pt x="59" y="32"/>
                    <a:pt x="45" y="30"/>
                    <a:pt x="33" y="28"/>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43" name="Freeform 34"/>
            <p:cNvSpPr>
              <a:spLocks/>
            </p:cNvSpPr>
            <p:nvPr/>
          </p:nvSpPr>
          <p:spPr bwMode="auto">
            <a:xfrm>
              <a:off x="3814767" y="4568821"/>
              <a:ext cx="225425" cy="273050"/>
            </a:xfrm>
            <a:custGeom>
              <a:avLst/>
              <a:gdLst/>
              <a:ahLst/>
              <a:cxnLst>
                <a:cxn ang="0">
                  <a:pos x="33" y="28"/>
                </a:cxn>
                <a:cxn ang="0">
                  <a:pos x="17" y="20"/>
                </a:cxn>
                <a:cxn ang="0">
                  <a:pos x="31" y="12"/>
                </a:cxn>
                <a:cxn ang="0">
                  <a:pos x="51" y="17"/>
                </a:cxn>
                <a:cxn ang="0">
                  <a:pos x="52" y="18"/>
                </a:cxn>
                <a:cxn ang="0">
                  <a:pos x="53" y="17"/>
                </a:cxn>
                <a:cxn ang="0">
                  <a:pos x="57" y="8"/>
                </a:cxn>
                <a:cxn ang="0">
                  <a:pos x="57" y="8"/>
                </a:cxn>
                <a:cxn ang="0">
                  <a:pos x="56" y="6"/>
                </a:cxn>
                <a:cxn ang="0">
                  <a:pos x="56" y="6"/>
                </a:cxn>
                <a:cxn ang="0">
                  <a:pos x="30" y="0"/>
                </a:cxn>
                <a:cxn ang="0">
                  <a:pos x="3" y="20"/>
                </a:cxn>
                <a:cxn ang="0">
                  <a:pos x="10" y="35"/>
                </a:cxn>
                <a:cxn ang="0">
                  <a:pos x="30" y="41"/>
                </a:cxn>
                <a:cxn ang="0">
                  <a:pos x="45" y="48"/>
                </a:cxn>
                <a:cxn ang="0">
                  <a:pos x="29" y="57"/>
                </a:cxn>
                <a:cxn ang="0">
                  <a:pos x="8" y="51"/>
                </a:cxn>
                <a:cxn ang="0">
                  <a:pos x="7" y="50"/>
                </a:cxn>
                <a:cxn ang="0">
                  <a:pos x="0" y="62"/>
                </a:cxn>
                <a:cxn ang="0">
                  <a:pos x="2" y="63"/>
                </a:cxn>
                <a:cxn ang="0">
                  <a:pos x="29" y="70"/>
                </a:cxn>
                <a:cxn ang="0">
                  <a:pos x="60" y="48"/>
                </a:cxn>
                <a:cxn ang="0">
                  <a:pos x="33" y="28"/>
                </a:cxn>
              </a:cxnLst>
              <a:rect l="0" t="0" r="r" b="b"/>
              <a:pathLst>
                <a:path w="60" h="70">
                  <a:moveTo>
                    <a:pt x="33" y="28"/>
                  </a:moveTo>
                  <a:cubicBezTo>
                    <a:pt x="23" y="26"/>
                    <a:pt x="17" y="25"/>
                    <a:pt x="17" y="20"/>
                  </a:cubicBezTo>
                  <a:cubicBezTo>
                    <a:pt x="17" y="15"/>
                    <a:pt x="22" y="12"/>
                    <a:pt x="31" y="12"/>
                  </a:cubicBezTo>
                  <a:cubicBezTo>
                    <a:pt x="40" y="12"/>
                    <a:pt x="48" y="16"/>
                    <a:pt x="51" y="17"/>
                  </a:cubicBezTo>
                  <a:cubicBezTo>
                    <a:pt x="51" y="17"/>
                    <a:pt x="51" y="18"/>
                    <a:pt x="52" y="18"/>
                  </a:cubicBezTo>
                  <a:cubicBezTo>
                    <a:pt x="52" y="18"/>
                    <a:pt x="53" y="17"/>
                    <a:pt x="53" y="17"/>
                  </a:cubicBezTo>
                  <a:cubicBezTo>
                    <a:pt x="57" y="8"/>
                    <a:pt x="57" y="8"/>
                    <a:pt x="57" y="8"/>
                  </a:cubicBezTo>
                  <a:cubicBezTo>
                    <a:pt x="57" y="8"/>
                    <a:pt x="57" y="8"/>
                    <a:pt x="57" y="8"/>
                  </a:cubicBezTo>
                  <a:cubicBezTo>
                    <a:pt x="57" y="7"/>
                    <a:pt x="57" y="6"/>
                    <a:pt x="56" y="6"/>
                  </a:cubicBezTo>
                  <a:cubicBezTo>
                    <a:pt x="56" y="6"/>
                    <a:pt x="56" y="6"/>
                    <a:pt x="56" y="6"/>
                  </a:cubicBezTo>
                  <a:cubicBezTo>
                    <a:pt x="49" y="2"/>
                    <a:pt x="39" y="0"/>
                    <a:pt x="30" y="0"/>
                  </a:cubicBezTo>
                  <a:cubicBezTo>
                    <a:pt x="13" y="0"/>
                    <a:pt x="3" y="7"/>
                    <a:pt x="3" y="20"/>
                  </a:cubicBezTo>
                  <a:cubicBezTo>
                    <a:pt x="3" y="27"/>
                    <a:pt x="5" y="31"/>
                    <a:pt x="10" y="35"/>
                  </a:cubicBezTo>
                  <a:cubicBezTo>
                    <a:pt x="15" y="39"/>
                    <a:pt x="23" y="40"/>
                    <a:pt x="30" y="41"/>
                  </a:cubicBezTo>
                  <a:cubicBezTo>
                    <a:pt x="39" y="42"/>
                    <a:pt x="45" y="43"/>
                    <a:pt x="45" y="48"/>
                  </a:cubicBezTo>
                  <a:cubicBezTo>
                    <a:pt x="45" y="56"/>
                    <a:pt x="34" y="57"/>
                    <a:pt x="29" y="57"/>
                  </a:cubicBezTo>
                  <a:cubicBezTo>
                    <a:pt x="21" y="57"/>
                    <a:pt x="14" y="55"/>
                    <a:pt x="8" y="51"/>
                  </a:cubicBezTo>
                  <a:cubicBezTo>
                    <a:pt x="7" y="50"/>
                    <a:pt x="7" y="50"/>
                    <a:pt x="7" y="50"/>
                  </a:cubicBezTo>
                  <a:cubicBezTo>
                    <a:pt x="0" y="62"/>
                    <a:pt x="0" y="62"/>
                    <a:pt x="0" y="62"/>
                  </a:cubicBezTo>
                  <a:cubicBezTo>
                    <a:pt x="2" y="63"/>
                    <a:pt x="2" y="63"/>
                    <a:pt x="2" y="63"/>
                  </a:cubicBezTo>
                  <a:cubicBezTo>
                    <a:pt x="7" y="66"/>
                    <a:pt x="16" y="70"/>
                    <a:pt x="29" y="70"/>
                  </a:cubicBezTo>
                  <a:cubicBezTo>
                    <a:pt x="47" y="70"/>
                    <a:pt x="60" y="61"/>
                    <a:pt x="60" y="48"/>
                  </a:cubicBezTo>
                  <a:cubicBezTo>
                    <a:pt x="60" y="32"/>
                    <a:pt x="45" y="30"/>
                    <a:pt x="33" y="28"/>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44" name="Freeform 35"/>
            <p:cNvSpPr>
              <a:spLocks/>
            </p:cNvSpPr>
            <p:nvPr/>
          </p:nvSpPr>
          <p:spPr bwMode="auto">
            <a:xfrm>
              <a:off x="5559430" y="4568825"/>
              <a:ext cx="187326" cy="269874"/>
            </a:xfrm>
            <a:custGeom>
              <a:avLst/>
              <a:gdLst/>
              <a:ahLst/>
              <a:cxnLst>
                <a:cxn ang="0">
                  <a:pos x="14" y="56"/>
                </a:cxn>
                <a:cxn ang="0">
                  <a:pos x="14" y="5"/>
                </a:cxn>
                <a:cxn ang="0">
                  <a:pos x="9" y="0"/>
                </a:cxn>
                <a:cxn ang="0">
                  <a:pos x="5" y="0"/>
                </a:cxn>
                <a:cxn ang="0">
                  <a:pos x="0" y="5"/>
                </a:cxn>
                <a:cxn ang="0">
                  <a:pos x="0" y="69"/>
                </a:cxn>
                <a:cxn ang="0">
                  <a:pos x="50" y="69"/>
                </a:cxn>
                <a:cxn ang="0">
                  <a:pos x="50" y="56"/>
                </a:cxn>
                <a:cxn ang="0">
                  <a:pos x="14" y="56"/>
                </a:cxn>
              </a:cxnLst>
              <a:rect l="0" t="0" r="r" b="b"/>
              <a:pathLst>
                <a:path w="50" h="69">
                  <a:moveTo>
                    <a:pt x="14" y="56"/>
                  </a:moveTo>
                  <a:cubicBezTo>
                    <a:pt x="14" y="54"/>
                    <a:pt x="14" y="17"/>
                    <a:pt x="14" y="5"/>
                  </a:cubicBezTo>
                  <a:cubicBezTo>
                    <a:pt x="14" y="2"/>
                    <a:pt x="12" y="0"/>
                    <a:pt x="9" y="0"/>
                  </a:cubicBezTo>
                  <a:cubicBezTo>
                    <a:pt x="5" y="0"/>
                    <a:pt x="5" y="0"/>
                    <a:pt x="5" y="0"/>
                  </a:cubicBezTo>
                  <a:cubicBezTo>
                    <a:pt x="2" y="0"/>
                    <a:pt x="0" y="2"/>
                    <a:pt x="0" y="5"/>
                  </a:cubicBezTo>
                  <a:cubicBezTo>
                    <a:pt x="0" y="69"/>
                    <a:pt x="0" y="69"/>
                    <a:pt x="0" y="69"/>
                  </a:cubicBezTo>
                  <a:cubicBezTo>
                    <a:pt x="50" y="69"/>
                    <a:pt x="50" y="69"/>
                    <a:pt x="50" y="69"/>
                  </a:cubicBezTo>
                  <a:cubicBezTo>
                    <a:pt x="50" y="56"/>
                    <a:pt x="50" y="56"/>
                    <a:pt x="50" y="56"/>
                  </a:cubicBezTo>
                  <a:cubicBezTo>
                    <a:pt x="50" y="56"/>
                    <a:pt x="17" y="56"/>
                    <a:pt x="14" y="56"/>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dirty="0">
                <a:solidFill>
                  <a:schemeClr val="tx1"/>
                </a:solidFill>
                <a:latin typeface="+mn-lt"/>
                <a:ea typeface="+mn-ea"/>
                <a:cs typeface="+mn-cs"/>
              </a:endParaRPr>
            </a:p>
          </p:txBody>
        </p:sp>
        <p:sp>
          <p:nvSpPr>
            <p:cNvPr id="45" name="Freeform 36"/>
            <p:cNvSpPr>
              <a:spLocks/>
            </p:cNvSpPr>
            <p:nvPr/>
          </p:nvSpPr>
          <p:spPr bwMode="auto">
            <a:xfrm>
              <a:off x="3529015" y="4568823"/>
              <a:ext cx="255589" cy="273050"/>
            </a:xfrm>
            <a:custGeom>
              <a:avLst/>
              <a:gdLst/>
              <a:ahLst/>
              <a:cxnLst>
                <a:cxn ang="0">
                  <a:pos x="63" y="0"/>
                </a:cxn>
                <a:cxn ang="0">
                  <a:pos x="58" y="0"/>
                </a:cxn>
                <a:cxn ang="0">
                  <a:pos x="54" y="5"/>
                </a:cxn>
                <a:cxn ang="0">
                  <a:pos x="54" y="39"/>
                </a:cxn>
                <a:cxn ang="0">
                  <a:pos x="52" y="48"/>
                </a:cxn>
                <a:cxn ang="0">
                  <a:pos x="34" y="57"/>
                </a:cxn>
                <a:cxn ang="0">
                  <a:pos x="15" y="48"/>
                </a:cxn>
                <a:cxn ang="0">
                  <a:pos x="14" y="39"/>
                </a:cxn>
                <a:cxn ang="0">
                  <a:pos x="14" y="5"/>
                </a:cxn>
                <a:cxn ang="0">
                  <a:pos x="9" y="0"/>
                </a:cxn>
                <a:cxn ang="0">
                  <a:pos x="5" y="0"/>
                </a:cxn>
                <a:cxn ang="0">
                  <a:pos x="0" y="5"/>
                </a:cxn>
                <a:cxn ang="0">
                  <a:pos x="0" y="40"/>
                </a:cxn>
                <a:cxn ang="0">
                  <a:pos x="2" y="52"/>
                </a:cxn>
                <a:cxn ang="0">
                  <a:pos x="34" y="70"/>
                </a:cxn>
                <a:cxn ang="0">
                  <a:pos x="65" y="53"/>
                </a:cxn>
                <a:cxn ang="0">
                  <a:pos x="68" y="40"/>
                </a:cxn>
                <a:cxn ang="0">
                  <a:pos x="68" y="5"/>
                </a:cxn>
                <a:cxn ang="0">
                  <a:pos x="63" y="0"/>
                </a:cxn>
              </a:cxnLst>
              <a:rect l="0" t="0" r="r" b="b"/>
              <a:pathLst>
                <a:path w="68" h="70">
                  <a:moveTo>
                    <a:pt x="63" y="0"/>
                  </a:moveTo>
                  <a:cubicBezTo>
                    <a:pt x="58" y="0"/>
                    <a:pt x="58" y="0"/>
                    <a:pt x="58" y="0"/>
                  </a:cubicBezTo>
                  <a:cubicBezTo>
                    <a:pt x="56" y="0"/>
                    <a:pt x="54" y="2"/>
                    <a:pt x="54" y="5"/>
                  </a:cubicBezTo>
                  <a:cubicBezTo>
                    <a:pt x="54" y="39"/>
                    <a:pt x="54" y="39"/>
                    <a:pt x="54" y="39"/>
                  </a:cubicBezTo>
                  <a:cubicBezTo>
                    <a:pt x="54" y="43"/>
                    <a:pt x="53" y="46"/>
                    <a:pt x="52" y="48"/>
                  </a:cubicBezTo>
                  <a:cubicBezTo>
                    <a:pt x="49" y="54"/>
                    <a:pt x="44" y="57"/>
                    <a:pt x="34" y="57"/>
                  </a:cubicBezTo>
                  <a:cubicBezTo>
                    <a:pt x="24" y="57"/>
                    <a:pt x="18" y="54"/>
                    <a:pt x="15" y="48"/>
                  </a:cubicBezTo>
                  <a:cubicBezTo>
                    <a:pt x="14" y="45"/>
                    <a:pt x="14" y="43"/>
                    <a:pt x="14" y="39"/>
                  </a:cubicBezTo>
                  <a:cubicBezTo>
                    <a:pt x="14" y="5"/>
                    <a:pt x="14" y="5"/>
                    <a:pt x="14" y="5"/>
                  </a:cubicBezTo>
                  <a:cubicBezTo>
                    <a:pt x="14" y="2"/>
                    <a:pt x="12" y="0"/>
                    <a:pt x="9" y="0"/>
                  </a:cubicBezTo>
                  <a:cubicBezTo>
                    <a:pt x="5" y="0"/>
                    <a:pt x="5" y="0"/>
                    <a:pt x="5" y="0"/>
                  </a:cubicBezTo>
                  <a:cubicBezTo>
                    <a:pt x="2" y="0"/>
                    <a:pt x="0" y="2"/>
                    <a:pt x="0" y="5"/>
                  </a:cubicBezTo>
                  <a:cubicBezTo>
                    <a:pt x="0" y="40"/>
                    <a:pt x="0" y="40"/>
                    <a:pt x="0" y="40"/>
                  </a:cubicBezTo>
                  <a:cubicBezTo>
                    <a:pt x="0" y="45"/>
                    <a:pt x="1" y="49"/>
                    <a:pt x="2" y="52"/>
                  </a:cubicBezTo>
                  <a:cubicBezTo>
                    <a:pt x="5" y="60"/>
                    <a:pt x="13" y="70"/>
                    <a:pt x="34" y="70"/>
                  </a:cubicBezTo>
                  <a:cubicBezTo>
                    <a:pt x="50" y="70"/>
                    <a:pt x="61" y="64"/>
                    <a:pt x="65" y="53"/>
                  </a:cubicBezTo>
                  <a:cubicBezTo>
                    <a:pt x="67" y="49"/>
                    <a:pt x="68" y="45"/>
                    <a:pt x="68" y="40"/>
                  </a:cubicBezTo>
                  <a:cubicBezTo>
                    <a:pt x="68" y="5"/>
                    <a:pt x="68" y="5"/>
                    <a:pt x="68" y="5"/>
                  </a:cubicBezTo>
                  <a:cubicBezTo>
                    <a:pt x="67" y="2"/>
                    <a:pt x="65" y="0"/>
                    <a:pt x="63" y="0"/>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46" name="Freeform 37"/>
            <p:cNvSpPr>
              <a:spLocks noEditPoints="1"/>
            </p:cNvSpPr>
            <p:nvPr/>
          </p:nvSpPr>
          <p:spPr bwMode="auto">
            <a:xfrm>
              <a:off x="3276602" y="4568825"/>
              <a:ext cx="214315" cy="269874"/>
            </a:xfrm>
            <a:custGeom>
              <a:avLst/>
              <a:gdLst/>
              <a:ahLst/>
              <a:cxnLst>
                <a:cxn ang="0">
                  <a:pos x="48" y="33"/>
                </a:cxn>
                <a:cxn ang="0">
                  <a:pos x="46" y="32"/>
                </a:cxn>
                <a:cxn ang="0">
                  <a:pos x="52" y="19"/>
                </a:cxn>
                <a:cxn ang="0">
                  <a:pos x="37" y="1"/>
                </a:cxn>
                <a:cxn ang="0">
                  <a:pos x="25" y="0"/>
                </a:cxn>
                <a:cxn ang="0">
                  <a:pos x="7" y="0"/>
                </a:cxn>
                <a:cxn ang="0">
                  <a:pos x="0" y="7"/>
                </a:cxn>
                <a:cxn ang="0">
                  <a:pos x="0" y="69"/>
                </a:cxn>
                <a:cxn ang="0">
                  <a:pos x="28" y="69"/>
                </a:cxn>
                <a:cxn ang="0">
                  <a:pos x="43" y="67"/>
                </a:cxn>
                <a:cxn ang="0">
                  <a:pos x="57" y="48"/>
                </a:cxn>
                <a:cxn ang="0">
                  <a:pos x="48" y="33"/>
                </a:cxn>
                <a:cxn ang="0">
                  <a:pos x="25" y="12"/>
                </a:cxn>
                <a:cxn ang="0">
                  <a:pos x="33" y="12"/>
                </a:cxn>
                <a:cxn ang="0">
                  <a:pos x="39" y="20"/>
                </a:cxn>
                <a:cxn ang="0">
                  <a:pos x="34" y="28"/>
                </a:cxn>
                <a:cxn ang="0">
                  <a:pos x="25" y="29"/>
                </a:cxn>
                <a:cxn ang="0">
                  <a:pos x="14" y="29"/>
                </a:cxn>
                <a:cxn ang="0">
                  <a:pos x="14" y="12"/>
                </a:cxn>
                <a:cxn ang="0">
                  <a:pos x="25" y="12"/>
                </a:cxn>
                <a:cxn ang="0">
                  <a:pos x="29" y="39"/>
                </a:cxn>
                <a:cxn ang="0">
                  <a:pos x="38" y="40"/>
                </a:cxn>
                <a:cxn ang="0">
                  <a:pos x="44" y="48"/>
                </a:cxn>
                <a:cxn ang="0">
                  <a:pos x="38" y="56"/>
                </a:cxn>
                <a:cxn ang="0">
                  <a:pos x="27" y="57"/>
                </a:cxn>
                <a:cxn ang="0">
                  <a:pos x="14" y="57"/>
                </a:cxn>
                <a:cxn ang="0">
                  <a:pos x="14" y="39"/>
                </a:cxn>
                <a:cxn ang="0">
                  <a:pos x="29" y="39"/>
                </a:cxn>
              </a:cxnLst>
              <a:rect l="0" t="0" r="r" b="b"/>
              <a:pathLst>
                <a:path w="57" h="69">
                  <a:moveTo>
                    <a:pt x="48" y="33"/>
                  </a:moveTo>
                  <a:cubicBezTo>
                    <a:pt x="47" y="32"/>
                    <a:pt x="47" y="32"/>
                    <a:pt x="46" y="32"/>
                  </a:cubicBezTo>
                  <a:cubicBezTo>
                    <a:pt x="50" y="29"/>
                    <a:pt x="52" y="25"/>
                    <a:pt x="52" y="19"/>
                  </a:cubicBezTo>
                  <a:cubicBezTo>
                    <a:pt x="52" y="10"/>
                    <a:pt x="47" y="4"/>
                    <a:pt x="37" y="1"/>
                  </a:cubicBezTo>
                  <a:cubicBezTo>
                    <a:pt x="33" y="0"/>
                    <a:pt x="29" y="0"/>
                    <a:pt x="25" y="0"/>
                  </a:cubicBezTo>
                  <a:cubicBezTo>
                    <a:pt x="7" y="0"/>
                    <a:pt x="7" y="0"/>
                    <a:pt x="7" y="0"/>
                  </a:cubicBezTo>
                  <a:cubicBezTo>
                    <a:pt x="3" y="0"/>
                    <a:pt x="0" y="3"/>
                    <a:pt x="0" y="7"/>
                  </a:cubicBezTo>
                  <a:cubicBezTo>
                    <a:pt x="0" y="69"/>
                    <a:pt x="0" y="69"/>
                    <a:pt x="0" y="69"/>
                  </a:cubicBezTo>
                  <a:cubicBezTo>
                    <a:pt x="28" y="69"/>
                    <a:pt x="28" y="69"/>
                    <a:pt x="28" y="69"/>
                  </a:cubicBezTo>
                  <a:cubicBezTo>
                    <a:pt x="34" y="69"/>
                    <a:pt x="39" y="68"/>
                    <a:pt x="43" y="67"/>
                  </a:cubicBezTo>
                  <a:cubicBezTo>
                    <a:pt x="52" y="63"/>
                    <a:pt x="57" y="57"/>
                    <a:pt x="57" y="48"/>
                  </a:cubicBezTo>
                  <a:cubicBezTo>
                    <a:pt x="57" y="41"/>
                    <a:pt x="54" y="36"/>
                    <a:pt x="48" y="33"/>
                  </a:cubicBezTo>
                  <a:close/>
                  <a:moveTo>
                    <a:pt x="25" y="12"/>
                  </a:moveTo>
                  <a:cubicBezTo>
                    <a:pt x="28" y="12"/>
                    <a:pt x="31" y="12"/>
                    <a:pt x="33" y="12"/>
                  </a:cubicBezTo>
                  <a:cubicBezTo>
                    <a:pt x="37" y="14"/>
                    <a:pt x="39" y="16"/>
                    <a:pt x="39" y="20"/>
                  </a:cubicBezTo>
                  <a:cubicBezTo>
                    <a:pt x="39" y="24"/>
                    <a:pt x="37" y="26"/>
                    <a:pt x="34" y="28"/>
                  </a:cubicBezTo>
                  <a:cubicBezTo>
                    <a:pt x="32" y="28"/>
                    <a:pt x="29" y="29"/>
                    <a:pt x="25" y="29"/>
                  </a:cubicBezTo>
                  <a:cubicBezTo>
                    <a:pt x="14" y="29"/>
                    <a:pt x="14" y="29"/>
                    <a:pt x="14" y="29"/>
                  </a:cubicBezTo>
                  <a:cubicBezTo>
                    <a:pt x="14" y="12"/>
                    <a:pt x="14" y="12"/>
                    <a:pt x="14" y="12"/>
                  </a:cubicBezTo>
                  <a:lnTo>
                    <a:pt x="25" y="12"/>
                  </a:lnTo>
                  <a:close/>
                  <a:moveTo>
                    <a:pt x="29" y="39"/>
                  </a:moveTo>
                  <a:cubicBezTo>
                    <a:pt x="33" y="39"/>
                    <a:pt x="36" y="40"/>
                    <a:pt x="38" y="40"/>
                  </a:cubicBezTo>
                  <a:cubicBezTo>
                    <a:pt x="42" y="42"/>
                    <a:pt x="44" y="44"/>
                    <a:pt x="44" y="48"/>
                  </a:cubicBezTo>
                  <a:cubicBezTo>
                    <a:pt x="44" y="52"/>
                    <a:pt x="42" y="54"/>
                    <a:pt x="38" y="56"/>
                  </a:cubicBezTo>
                  <a:cubicBezTo>
                    <a:pt x="35" y="57"/>
                    <a:pt x="32" y="57"/>
                    <a:pt x="27" y="57"/>
                  </a:cubicBezTo>
                  <a:cubicBezTo>
                    <a:pt x="14" y="57"/>
                    <a:pt x="14" y="57"/>
                    <a:pt x="14" y="57"/>
                  </a:cubicBezTo>
                  <a:cubicBezTo>
                    <a:pt x="14" y="39"/>
                    <a:pt x="14" y="39"/>
                    <a:pt x="14" y="39"/>
                  </a:cubicBezTo>
                  <a:lnTo>
                    <a:pt x="29" y="3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38"/>
            <p:cNvSpPr>
              <a:spLocks noEditPoints="1"/>
            </p:cNvSpPr>
            <p:nvPr/>
          </p:nvSpPr>
          <p:spPr bwMode="auto">
            <a:xfrm>
              <a:off x="5326068" y="4568826"/>
              <a:ext cx="203202" cy="269874"/>
            </a:xfrm>
            <a:custGeom>
              <a:avLst/>
              <a:gdLst/>
              <a:ahLst/>
              <a:cxnLst>
                <a:cxn ang="0">
                  <a:pos x="37" y="1"/>
                </a:cxn>
                <a:cxn ang="0">
                  <a:pos x="23" y="0"/>
                </a:cxn>
                <a:cxn ang="0">
                  <a:pos x="7" y="0"/>
                </a:cxn>
                <a:cxn ang="0">
                  <a:pos x="0" y="7"/>
                </a:cxn>
                <a:cxn ang="0">
                  <a:pos x="0" y="69"/>
                </a:cxn>
                <a:cxn ang="0">
                  <a:pos x="14" y="69"/>
                </a:cxn>
                <a:cxn ang="0">
                  <a:pos x="14" y="46"/>
                </a:cxn>
                <a:cxn ang="0">
                  <a:pos x="22" y="46"/>
                </a:cxn>
                <a:cxn ang="0">
                  <a:pos x="34" y="45"/>
                </a:cxn>
                <a:cxn ang="0">
                  <a:pos x="54" y="23"/>
                </a:cxn>
                <a:cxn ang="0">
                  <a:pos x="37" y="1"/>
                </a:cxn>
                <a:cxn ang="0">
                  <a:pos x="23" y="12"/>
                </a:cxn>
                <a:cxn ang="0">
                  <a:pos x="33" y="13"/>
                </a:cxn>
                <a:cxn ang="0">
                  <a:pos x="41" y="23"/>
                </a:cxn>
                <a:cxn ang="0">
                  <a:pos x="32" y="34"/>
                </a:cxn>
                <a:cxn ang="0">
                  <a:pos x="22" y="34"/>
                </a:cxn>
                <a:cxn ang="0">
                  <a:pos x="14" y="34"/>
                </a:cxn>
                <a:cxn ang="0">
                  <a:pos x="14" y="12"/>
                </a:cxn>
                <a:cxn ang="0">
                  <a:pos x="23" y="12"/>
                </a:cxn>
              </a:cxnLst>
              <a:rect l="0" t="0" r="r" b="b"/>
              <a:pathLst>
                <a:path w="54" h="69">
                  <a:moveTo>
                    <a:pt x="37" y="1"/>
                  </a:moveTo>
                  <a:cubicBezTo>
                    <a:pt x="33" y="0"/>
                    <a:pt x="28" y="0"/>
                    <a:pt x="23" y="0"/>
                  </a:cubicBezTo>
                  <a:cubicBezTo>
                    <a:pt x="7" y="0"/>
                    <a:pt x="7" y="0"/>
                    <a:pt x="7" y="0"/>
                  </a:cubicBezTo>
                  <a:cubicBezTo>
                    <a:pt x="3" y="0"/>
                    <a:pt x="0" y="3"/>
                    <a:pt x="0" y="7"/>
                  </a:cubicBezTo>
                  <a:cubicBezTo>
                    <a:pt x="0" y="69"/>
                    <a:pt x="0" y="69"/>
                    <a:pt x="0" y="69"/>
                  </a:cubicBezTo>
                  <a:cubicBezTo>
                    <a:pt x="14" y="69"/>
                    <a:pt x="14" y="69"/>
                    <a:pt x="14" y="69"/>
                  </a:cubicBezTo>
                  <a:cubicBezTo>
                    <a:pt x="14" y="69"/>
                    <a:pt x="14" y="49"/>
                    <a:pt x="14" y="46"/>
                  </a:cubicBezTo>
                  <a:cubicBezTo>
                    <a:pt x="16" y="46"/>
                    <a:pt x="22" y="46"/>
                    <a:pt x="22" y="46"/>
                  </a:cubicBezTo>
                  <a:cubicBezTo>
                    <a:pt x="27" y="46"/>
                    <a:pt x="31" y="46"/>
                    <a:pt x="34" y="45"/>
                  </a:cubicBezTo>
                  <a:cubicBezTo>
                    <a:pt x="47" y="43"/>
                    <a:pt x="54" y="34"/>
                    <a:pt x="54" y="23"/>
                  </a:cubicBezTo>
                  <a:cubicBezTo>
                    <a:pt x="54" y="12"/>
                    <a:pt x="48" y="4"/>
                    <a:pt x="37" y="1"/>
                  </a:cubicBezTo>
                  <a:close/>
                  <a:moveTo>
                    <a:pt x="23" y="12"/>
                  </a:moveTo>
                  <a:cubicBezTo>
                    <a:pt x="27" y="12"/>
                    <a:pt x="30" y="12"/>
                    <a:pt x="33" y="13"/>
                  </a:cubicBezTo>
                  <a:cubicBezTo>
                    <a:pt x="38" y="14"/>
                    <a:pt x="41" y="18"/>
                    <a:pt x="41" y="23"/>
                  </a:cubicBezTo>
                  <a:cubicBezTo>
                    <a:pt x="41" y="29"/>
                    <a:pt x="38" y="32"/>
                    <a:pt x="32" y="34"/>
                  </a:cubicBezTo>
                  <a:cubicBezTo>
                    <a:pt x="29" y="34"/>
                    <a:pt x="26" y="34"/>
                    <a:pt x="22" y="34"/>
                  </a:cubicBezTo>
                  <a:cubicBezTo>
                    <a:pt x="14" y="34"/>
                    <a:pt x="14" y="34"/>
                    <a:pt x="14" y="34"/>
                  </a:cubicBezTo>
                  <a:cubicBezTo>
                    <a:pt x="14" y="12"/>
                    <a:pt x="14" y="12"/>
                    <a:pt x="14" y="12"/>
                  </a:cubicBezTo>
                  <a:lnTo>
                    <a:pt x="23" y="12"/>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48" name="Freeform 39"/>
            <p:cNvSpPr>
              <a:spLocks/>
            </p:cNvSpPr>
            <p:nvPr/>
          </p:nvSpPr>
          <p:spPr bwMode="auto">
            <a:xfrm>
              <a:off x="7070725" y="4568823"/>
              <a:ext cx="266699" cy="273050"/>
            </a:xfrm>
            <a:custGeom>
              <a:avLst/>
              <a:gdLst/>
              <a:ahLst/>
              <a:cxnLst>
                <a:cxn ang="0">
                  <a:pos x="42" y="30"/>
                </a:cxn>
                <a:cxn ang="0">
                  <a:pos x="39" y="32"/>
                </a:cxn>
                <a:cxn ang="0">
                  <a:pos x="39" y="40"/>
                </a:cxn>
                <a:cxn ang="0">
                  <a:pos x="42" y="42"/>
                </a:cxn>
                <a:cxn ang="0">
                  <a:pos x="57" y="42"/>
                </a:cxn>
                <a:cxn ang="0">
                  <a:pos x="57" y="55"/>
                </a:cxn>
                <a:cxn ang="0">
                  <a:pos x="41" y="57"/>
                </a:cxn>
                <a:cxn ang="0">
                  <a:pos x="15" y="35"/>
                </a:cxn>
                <a:cxn ang="0">
                  <a:pos x="41" y="12"/>
                </a:cxn>
                <a:cxn ang="0">
                  <a:pos x="64" y="17"/>
                </a:cxn>
                <a:cxn ang="0">
                  <a:pos x="67" y="16"/>
                </a:cxn>
                <a:cxn ang="0">
                  <a:pos x="70" y="8"/>
                </a:cxn>
                <a:cxn ang="0">
                  <a:pos x="69" y="5"/>
                </a:cxn>
                <a:cxn ang="0">
                  <a:pos x="41" y="0"/>
                </a:cxn>
                <a:cxn ang="0">
                  <a:pos x="0" y="35"/>
                </a:cxn>
                <a:cxn ang="0">
                  <a:pos x="41" y="70"/>
                </a:cxn>
                <a:cxn ang="0">
                  <a:pos x="70" y="64"/>
                </a:cxn>
                <a:cxn ang="0">
                  <a:pos x="71" y="63"/>
                </a:cxn>
                <a:cxn ang="0">
                  <a:pos x="71" y="30"/>
                </a:cxn>
                <a:cxn ang="0">
                  <a:pos x="42" y="30"/>
                </a:cxn>
              </a:cxnLst>
              <a:rect l="0" t="0" r="r" b="b"/>
              <a:pathLst>
                <a:path w="71" h="70">
                  <a:moveTo>
                    <a:pt x="42" y="30"/>
                  </a:moveTo>
                  <a:cubicBezTo>
                    <a:pt x="40" y="30"/>
                    <a:pt x="39" y="31"/>
                    <a:pt x="39" y="32"/>
                  </a:cubicBezTo>
                  <a:cubicBezTo>
                    <a:pt x="39" y="40"/>
                    <a:pt x="39" y="40"/>
                    <a:pt x="39" y="40"/>
                  </a:cubicBezTo>
                  <a:cubicBezTo>
                    <a:pt x="39" y="41"/>
                    <a:pt x="40" y="42"/>
                    <a:pt x="42" y="42"/>
                  </a:cubicBezTo>
                  <a:cubicBezTo>
                    <a:pt x="42" y="42"/>
                    <a:pt x="54" y="42"/>
                    <a:pt x="57" y="42"/>
                  </a:cubicBezTo>
                  <a:cubicBezTo>
                    <a:pt x="57" y="55"/>
                    <a:pt x="57" y="55"/>
                    <a:pt x="57" y="55"/>
                  </a:cubicBezTo>
                  <a:cubicBezTo>
                    <a:pt x="53" y="56"/>
                    <a:pt x="47" y="57"/>
                    <a:pt x="41" y="57"/>
                  </a:cubicBezTo>
                  <a:cubicBezTo>
                    <a:pt x="24" y="57"/>
                    <a:pt x="15" y="49"/>
                    <a:pt x="15" y="35"/>
                  </a:cubicBezTo>
                  <a:cubicBezTo>
                    <a:pt x="15" y="21"/>
                    <a:pt x="25" y="12"/>
                    <a:pt x="41" y="12"/>
                  </a:cubicBezTo>
                  <a:cubicBezTo>
                    <a:pt x="49" y="12"/>
                    <a:pt x="57" y="14"/>
                    <a:pt x="64" y="17"/>
                  </a:cubicBezTo>
                  <a:cubicBezTo>
                    <a:pt x="66" y="18"/>
                    <a:pt x="67" y="17"/>
                    <a:pt x="67" y="16"/>
                  </a:cubicBezTo>
                  <a:cubicBezTo>
                    <a:pt x="70" y="8"/>
                    <a:pt x="70" y="8"/>
                    <a:pt x="70" y="8"/>
                  </a:cubicBezTo>
                  <a:cubicBezTo>
                    <a:pt x="70" y="7"/>
                    <a:pt x="70" y="5"/>
                    <a:pt x="69" y="5"/>
                  </a:cubicBezTo>
                  <a:cubicBezTo>
                    <a:pt x="59" y="1"/>
                    <a:pt x="50" y="0"/>
                    <a:pt x="41" y="0"/>
                  </a:cubicBezTo>
                  <a:cubicBezTo>
                    <a:pt x="16" y="0"/>
                    <a:pt x="0" y="14"/>
                    <a:pt x="0" y="35"/>
                  </a:cubicBezTo>
                  <a:cubicBezTo>
                    <a:pt x="0" y="57"/>
                    <a:pt x="16" y="70"/>
                    <a:pt x="41" y="70"/>
                  </a:cubicBezTo>
                  <a:cubicBezTo>
                    <a:pt x="51" y="70"/>
                    <a:pt x="62" y="68"/>
                    <a:pt x="70" y="64"/>
                  </a:cubicBezTo>
                  <a:cubicBezTo>
                    <a:pt x="71" y="63"/>
                    <a:pt x="71" y="63"/>
                    <a:pt x="71" y="63"/>
                  </a:cubicBezTo>
                  <a:cubicBezTo>
                    <a:pt x="71" y="30"/>
                    <a:pt x="71" y="30"/>
                    <a:pt x="71" y="30"/>
                  </a:cubicBezTo>
                  <a:lnTo>
                    <a:pt x="42" y="30"/>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grpSp>
    </p:spTree>
    <p:extLst>
      <p:ext uri="{BB962C8B-B14F-4D97-AF65-F5344CB8AC3E}">
        <p14:creationId xmlns:p14="http://schemas.microsoft.com/office/powerpoint/2010/main" val="1929244039"/>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hf hdr="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itle Only, No Brandzo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GB"/>
          </a:p>
        </p:txBody>
      </p:sp>
      <p:sp>
        <p:nvSpPr>
          <p:cNvPr id="6"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Tree>
    <p:extLst>
      <p:ext uri="{BB962C8B-B14F-4D97-AF65-F5344CB8AC3E}">
        <p14:creationId xmlns:p14="http://schemas.microsoft.com/office/powerpoint/2010/main" val="46644218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GB" dirty="0" smtClean="0"/>
              <a:t>To update this brand zone text, on the Insert tab, click Header &amp; Footer</a:t>
            </a:r>
            <a:endParaRPr lang="en-GB" dirty="0"/>
          </a:p>
        </p:txBody>
      </p:sp>
      <p:sp>
        <p:nvSpPr>
          <p:cNvPr id="4" name="Slide Number Placeholder 3"/>
          <p:cNvSpPr>
            <a:spLocks noGrp="1"/>
          </p:cNvSpPr>
          <p:nvPr>
            <p:ph type="sldNum" sz="quarter" idx="12"/>
          </p:nvPr>
        </p:nvSpPr>
        <p:spPr/>
        <p:txBody>
          <a:bodyPr/>
          <a:lstStyle/>
          <a:p>
            <a:fld id="{DF28FB93-0A08-4E7D-8E63-9EFA29F1E093}" type="slidenum">
              <a:rPr lang="en-GB" smtClean="0"/>
              <a:pPr/>
              <a:t>‹#›</a:t>
            </a:fld>
            <a:endParaRPr lang="en-GB" dirty="0"/>
          </a:p>
        </p:txBody>
      </p:sp>
    </p:spTree>
    <p:extLst>
      <p:ext uri="{BB962C8B-B14F-4D97-AF65-F5344CB8AC3E}">
        <p14:creationId xmlns:p14="http://schemas.microsoft.com/office/powerpoint/2010/main" val="254414900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Long Quote">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4" name="Slide Number Placeholder 3"/>
          <p:cNvSpPr>
            <a:spLocks noGrp="1"/>
          </p:cNvSpPr>
          <p:nvPr>
            <p:ph type="sldNum" sz="quarter" idx="12"/>
          </p:nvPr>
        </p:nvSpPr>
        <p:spPr/>
        <p:txBody>
          <a:bodyPr/>
          <a:lstStyle/>
          <a:p>
            <a:fld id="{DF28FB93-0A08-4E7D-8E63-9EFA29F1E093}" type="slidenum">
              <a:rPr lang="en-GB" smtClean="0"/>
              <a:pPr/>
              <a:t>‹#›</a:t>
            </a:fld>
            <a:endParaRPr lang="en-GB" dirty="0"/>
          </a:p>
        </p:txBody>
      </p:sp>
      <p:sp>
        <p:nvSpPr>
          <p:cNvPr id="9" name="Title 8"/>
          <p:cNvSpPr>
            <a:spLocks noGrp="1"/>
          </p:cNvSpPr>
          <p:nvPr>
            <p:ph type="title" hasCustomPrompt="1"/>
          </p:nvPr>
        </p:nvSpPr>
        <p:spPr>
          <a:xfrm>
            <a:off x="419100" y="1657350"/>
            <a:ext cx="8294689" cy="1409372"/>
          </a:xfrm>
        </p:spPr>
        <p:txBody>
          <a:bodyPr anchor="ctr"/>
          <a:lstStyle>
            <a:lvl1pPr algn="ctr">
              <a:defRPr baseline="0"/>
            </a:lvl1pPr>
          </a:lstStyle>
          <a:p>
            <a:r>
              <a:rPr lang="en-GB" dirty="0" smtClean="0"/>
              <a:t>“Long quotation or statement”</a:t>
            </a:r>
            <a:endParaRPr lang="en-GB" dirty="0"/>
          </a:p>
        </p:txBody>
      </p:sp>
      <p:sp>
        <p:nvSpPr>
          <p:cNvPr id="11" name="Text Placeholder 10"/>
          <p:cNvSpPr>
            <a:spLocks noGrp="1"/>
          </p:cNvSpPr>
          <p:nvPr>
            <p:ph type="body" sz="quarter" idx="13" hasCustomPrompt="1"/>
          </p:nvPr>
        </p:nvSpPr>
        <p:spPr>
          <a:xfrm>
            <a:off x="4751389" y="3355325"/>
            <a:ext cx="3962400" cy="285750"/>
          </a:xfrm>
        </p:spPr>
        <p:txBody>
          <a:bodyPr anchor="b">
            <a:noAutofit/>
          </a:bodyPr>
          <a:lstStyle>
            <a:lvl1pPr marL="0" indent="0" algn="r">
              <a:buFont typeface="Arial" pitchFamily="34" charset="0"/>
              <a:buNone/>
              <a:defRPr sz="1600" b="1" baseline="0"/>
            </a:lvl1pPr>
            <a:lvl2pPr marL="446238" indent="0" algn="r">
              <a:buNone/>
              <a:defRPr sz="1600" b="1"/>
            </a:lvl2pPr>
            <a:lvl3pPr marL="915987" indent="0" algn="r">
              <a:buNone/>
              <a:defRPr sz="1600" b="1"/>
            </a:lvl3pPr>
            <a:lvl4pPr marL="1382400" indent="0" algn="r">
              <a:buNone/>
              <a:defRPr sz="1600" b="1"/>
            </a:lvl4pPr>
            <a:lvl5pPr marL="1850400" indent="0" algn="r">
              <a:buNone/>
              <a:defRPr sz="1600" b="1"/>
            </a:lvl5pPr>
          </a:lstStyle>
          <a:p>
            <a:pPr lvl="0"/>
            <a:r>
              <a:rPr lang="en-GB" dirty="0" smtClean="0"/>
              <a:t>- Attribution</a:t>
            </a:r>
            <a:endParaRPr lang="en-GB" dirty="0"/>
          </a:p>
        </p:txBody>
      </p:sp>
      <p:sp>
        <p:nvSpPr>
          <p:cNvPr id="12" name="Text Placeholder 10"/>
          <p:cNvSpPr>
            <a:spLocks noGrp="1"/>
          </p:cNvSpPr>
          <p:nvPr>
            <p:ph type="body" sz="quarter" idx="14" hasCustomPrompt="1"/>
          </p:nvPr>
        </p:nvSpPr>
        <p:spPr>
          <a:xfrm>
            <a:off x="4751389" y="3641075"/>
            <a:ext cx="3962400" cy="285750"/>
          </a:xfrm>
        </p:spPr>
        <p:txBody>
          <a:bodyPr anchor="t">
            <a:noAutofit/>
          </a:bodyPr>
          <a:lstStyle>
            <a:lvl1pPr marL="0" indent="0" algn="r">
              <a:buFont typeface="Arial" pitchFamily="34" charset="0"/>
              <a:buNone/>
              <a:defRPr sz="1600" b="0" i="1"/>
            </a:lvl1pPr>
            <a:lvl2pPr marL="446238" indent="0" algn="r">
              <a:buNone/>
              <a:defRPr sz="1600" b="1"/>
            </a:lvl2pPr>
            <a:lvl3pPr marL="915987" indent="0" algn="r">
              <a:buNone/>
              <a:defRPr sz="1600" b="1"/>
            </a:lvl3pPr>
            <a:lvl4pPr marL="1382400" indent="0" algn="r">
              <a:buNone/>
              <a:defRPr sz="1600" b="1"/>
            </a:lvl4pPr>
            <a:lvl5pPr marL="1850400" indent="0" algn="r">
              <a:buNone/>
              <a:defRPr sz="1600" b="1"/>
            </a:lvl5pPr>
          </a:lstStyle>
          <a:p>
            <a:pPr lvl="0"/>
            <a:r>
              <a:rPr lang="en-GB" dirty="0" smtClean="0"/>
              <a:t>Supporting text</a:t>
            </a:r>
            <a:endParaRPr lang="en-GB" dirty="0"/>
          </a:p>
        </p:txBody>
      </p:sp>
    </p:spTree>
    <p:extLst>
      <p:ext uri="{BB962C8B-B14F-4D97-AF65-F5344CB8AC3E}">
        <p14:creationId xmlns:p14="http://schemas.microsoft.com/office/powerpoint/2010/main" val="4169188815"/>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hort Quote">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4" name="Slide Number Placeholder 3"/>
          <p:cNvSpPr>
            <a:spLocks noGrp="1"/>
          </p:cNvSpPr>
          <p:nvPr>
            <p:ph type="sldNum" sz="quarter" idx="12"/>
          </p:nvPr>
        </p:nvSpPr>
        <p:spPr/>
        <p:txBody>
          <a:bodyPr/>
          <a:lstStyle/>
          <a:p>
            <a:fld id="{DF28FB93-0A08-4E7D-8E63-9EFA29F1E093}" type="slidenum">
              <a:rPr lang="en-GB" smtClean="0"/>
              <a:pPr/>
              <a:t>‹#›</a:t>
            </a:fld>
            <a:endParaRPr lang="en-GB" dirty="0"/>
          </a:p>
        </p:txBody>
      </p:sp>
      <p:sp>
        <p:nvSpPr>
          <p:cNvPr id="9" name="Title 8"/>
          <p:cNvSpPr>
            <a:spLocks noGrp="1"/>
          </p:cNvSpPr>
          <p:nvPr>
            <p:ph type="title" hasCustomPrompt="1"/>
          </p:nvPr>
        </p:nvSpPr>
        <p:spPr>
          <a:xfrm>
            <a:off x="419100" y="1371600"/>
            <a:ext cx="8294689" cy="1980872"/>
          </a:xfrm>
        </p:spPr>
        <p:txBody>
          <a:bodyPr anchor="ctr">
            <a:noAutofit/>
          </a:bodyPr>
          <a:lstStyle>
            <a:lvl1pPr algn="ctr">
              <a:lnSpc>
                <a:spcPct val="85000"/>
              </a:lnSpc>
              <a:defRPr sz="4800" baseline="0"/>
            </a:lvl1pPr>
          </a:lstStyle>
          <a:p>
            <a:r>
              <a:rPr lang="en-GB" dirty="0" smtClean="0"/>
              <a:t>“Short quotation or statement”</a:t>
            </a:r>
            <a:endParaRPr lang="en-GB" dirty="0"/>
          </a:p>
        </p:txBody>
      </p:sp>
      <p:sp>
        <p:nvSpPr>
          <p:cNvPr id="11" name="Text Placeholder 10"/>
          <p:cNvSpPr>
            <a:spLocks noGrp="1"/>
          </p:cNvSpPr>
          <p:nvPr>
            <p:ph type="body" sz="quarter" idx="13" hasCustomPrompt="1"/>
          </p:nvPr>
        </p:nvSpPr>
        <p:spPr>
          <a:xfrm>
            <a:off x="4751389" y="3355325"/>
            <a:ext cx="3962400" cy="285750"/>
          </a:xfrm>
        </p:spPr>
        <p:txBody>
          <a:bodyPr anchor="b">
            <a:noAutofit/>
          </a:bodyPr>
          <a:lstStyle>
            <a:lvl1pPr marL="0" indent="0" algn="r">
              <a:buFont typeface="Arial" pitchFamily="34" charset="0"/>
              <a:buNone/>
              <a:defRPr sz="1600" b="1" baseline="0"/>
            </a:lvl1pPr>
            <a:lvl2pPr marL="446238" indent="0" algn="r">
              <a:buNone/>
              <a:defRPr sz="1600" b="1"/>
            </a:lvl2pPr>
            <a:lvl3pPr marL="915987" indent="0" algn="r">
              <a:buNone/>
              <a:defRPr sz="1600" b="1"/>
            </a:lvl3pPr>
            <a:lvl4pPr marL="1382400" indent="0" algn="r">
              <a:buNone/>
              <a:defRPr sz="1600" b="1"/>
            </a:lvl4pPr>
            <a:lvl5pPr marL="1850400" indent="0" algn="r">
              <a:buNone/>
              <a:defRPr sz="1600" b="1"/>
            </a:lvl5pPr>
          </a:lstStyle>
          <a:p>
            <a:pPr lvl="0"/>
            <a:r>
              <a:rPr lang="en-GB" dirty="0" smtClean="0"/>
              <a:t>- Attribution</a:t>
            </a:r>
            <a:endParaRPr lang="en-GB" dirty="0"/>
          </a:p>
        </p:txBody>
      </p:sp>
      <p:sp>
        <p:nvSpPr>
          <p:cNvPr id="12" name="Text Placeholder 10"/>
          <p:cNvSpPr>
            <a:spLocks noGrp="1"/>
          </p:cNvSpPr>
          <p:nvPr>
            <p:ph type="body" sz="quarter" idx="14" hasCustomPrompt="1"/>
          </p:nvPr>
        </p:nvSpPr>
        <p:spPr>
          <a:xfrm>
            <a:off x="4751389" y="3641075"/>
            <a:ext cx="3962400" cy="285750"/>
          </a:xfrm>
        </p:spPr>
        <p:txBody>
          <a:bodyPr anchor="t">
            <a:noAutofit/>
          </a:bodyPr>
          <a:lstStyle>
            <a:lvl1pPr marL="0" indent="0" algn="r">
              <a:buFont typeface="Arial" pitchFamily="34" charset="0"/>
              <a:buNone/>
              <a:defRPr sz="1600" b="0" i="1"/>
            </a:lvl1pPr>
            <a:lvl2pPr marL="446238" indent="0" algn="r">
              <a:buNone/>
              <a:defRPr sz="1600" b="1"/>
            </a:lvl2pPr>
            <a:lvl3pPr marL="915987" indent="0" algn="r">
              <a:buNone/>
              <a:defRPr sz="1600" b="1"/>
            </a:lvl3pPr>
            <a:lvl4pPr marL="1382400" indent="0" algn="r">
              <a:buNone/>
              <a:defRPr sz="1600" b="1"/>
            </a:lvl4pPr>
            <a:lvl5pPr marL="1850400" indent="0" algn="r">
              <a:buNone/>
              <a:defRPr sz="1600" b="1"/>
            </a:lvl5pPr>
          </a:lstStyle>
          <a:p>
            <a:pPr lvl="0"/>
            <a:r>
              <a:rPr lang="en-GB" dirty="0" smtClean="0"/>
              <a:t>Supporting text</a:t>
            </a:r>
            <a:endParaRPr lang="en-GB" dirty="0"/>
          </a:p>
        </p:txBody>
      </p:sp>
    </p:spTree>
    <p:extLst>
      <p:ext uri="{BB962C8B-B14F-4D97-AF65-F5344CB8AC3E}">
        <p14:creationId xmlns:p14="http://schemas.microsoft.com/office/powerpoint/2010/main" val="139882552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sp>
        <p:nvSpPr>
          <p:cNvPr id="2" name="Title 1"/>
          <p:cNvSpPr>
            <a:spLocks noGrp="1"/>
          </p:cNvSpPr>
          <p:nvPr>
            <p:ph type="title"/>
          </p:nvPr>
        </p:nvSpPr>
        <p:spPr>
          <a:xfrm>
            <a:off x="419100" y="371475"/>
            <a:ext cx="8294689" cy="400051"/>
          </a:xfrm>
        </p:spPr>
        <p:txBody>
          <a:bodyPr/>
          <a:lstStyle/>
          <a:p>
            <a:r>
              <a:rPr lang="en-GB" dirty="0" smtClean="0"/>
              <a:t>Click to edit Master title style</a:t>
            </a:r>
            <a:endParaRPr lang="en-GB" dirty="0"/>
          </a:p>
        </p:txBody>
      </p:sp>
      <p:sp>
        <p:nvSpPr>
          <p:cNvPr id="5" name="Footer Placeholder 4"/>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6" name="Slide Number Placeholder 5"/>
          <p:cNvSpPr>
            <a:spLocks noGrp="1"/>
          </p:cNvSpPr>
          <p:nvPr>
            <p:ph type="sldNum" sz="quarter" idx="12"/>
          </p:nvPr>
        </p:nvSpPr>
        <p:spPr/>
        <p:txBody>
          <a:bodyPr/>
          <a:lstStyle/>
          <a:p>
            <a:fld id="{DF28FB93-0A08-4E7D-8E63-9EFA29F1E093}" type="slidenum">
              <a:rPr lang="en-GB" smtClean="0"/>
              <a:pPr/>
              <a:t>‹#›</a:t>
            </a:fld>
            <a:endParaRPr lang="en-GB" dirty="0"/>
          </a:p>
        </p:txBody>
      </p:sp>
      <p:sp>
        <p:nvSpPr>
          <p:cNvPr id="8"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
        <p:nvSpPr>
          <p:cNvPr id="10" name="Picture Placeholder 9"/>
          <p:cNvSpPr>
            <a:spLocks noGrp="1"/>
          </p:cNvSpPr>
          <p:nvPr>
            <p:ph type="pic" sz="quarter" idx="14" hasCustomPrompt="1"/>
          </p:nvPr>
        </p:nvSpPr>
        <p:spPr>
          <a:xfrm>
            <a:off x="4627266" y="2867549"/>
            <a:ext cx="4086522" cy="1503484"/>
          </a:xfrm>
        </p:spPr>
        <p:txBody>
          <a:bodyPr tIns="72000">
            <a:normAutofit/>
          </a:bodyPr>
          <a:lstStyle>
            <a:lvl1pPr algn="ctr">
              <a:spcBef>
                <a:spcPts val="0"/>
              </a:spcBef>
              <a:defRPr sz="900" b="0"/>
            </a:lvl1pPr>
          </a:lstStyle>
          <a:p>
            <a:r>
              <a:rPr lang="en-US" dirty="0" smtClean="0"/>
              <a:t>To insert a Mindshare image, select the placeholder to fill and then, on the Mindshare tab of the ribbon, click Mindshare Images. To insert an image from your files,  click the icon in the centre of the placeholder.</a:t>
            </a:r>
          </a:p>
          <a:p>
            <a:endParaRPr lang="en-GB" dirty="0"/>
          </a:p>
        </p:txBody>
      </p:sp>
      <p:sp>
        <p:nvSpPr>
          <p:cNvPr id="11" name="Picture Placeholder 9"/>
          <p:cNvSpPr>
            <a:spLocks noGrp="1"/>
          </p:cNvSpPr>
          <p:nvPr>
            <p:ph type="pic" sz="quarter" idx="15"/>
          </p:nvPr>
        </p:nvSpPr>
        <p:spPr>
          <a:xfrm>
            <a:off x="4627266" y="1285875"/>
            <a:ext cx="1984200" cy="1503484"/>
          </a:xfrm>
        </p:spPr>
        <p:txBody>
          <a:bodyPr tIns="228600">
            <a:normAutofit/>
          </a:bodyPr>
          <a:lstStyle>
            <a:lvl1pPr algn="ctr">
              <a:spcBef>
                <a:spcPts val="0"/>
              </a:spcBef>
              <a:defRPr sz="1200" b="0"/>
            </a:lvl1pPr>
          </a:lstStyle>
          <a:p>
            <a:r>
              <a:rPr lang="en-GB" dirty="0" smtClean="0"/>
              <a:t>Click icon to add picture</a:t>
            </a:r>
            <a:endParaRPr lang="en-GB" dirty="0"/>
          </a:p>
        </p:txBody>
      </p:sp>
      <p:sp>
        <p:nvSpPr>
          <p:cNvPr id="12" name="Picture Placeholder 9"/>
          <p:cNvSpPr>
            <a:spLocks noGrp="1"/>
          </p:cNvSpPr>
          <p:nvPr>
            <p:ph type="pic" sz="quarter" idx="16"/>
          </p:nvPr>
        </p:nvSpPr>
        <p:spPr>
          <a:xfrm>
            <a:off x="6729589" y="1285875"/>
            <a:ext cx="1984200" cy="1503484"/>
          </a:xfrm>
        </p:spPr>
        <p:txBody>
          <a:bodyPr tIns="228600">
            <a:normAutofit/>
          </a:bodyPr>
          <a:lstStyle>
            <a:lvl1pPr algn="ctr">
              <a:spcBef>
                <a:spcPts val="0"/>
              </a:spcBef>
              <a:defRPr sz="1200" b="0"/>
            </a:lvl1pPr>
          </a:lstStyle>
          <a:p>
            <a:r>
              <a:rPr lang="en-GB" dirty="0" smtClean="0"/>
              <a:t>Click icon to add picture</a:t>
            </a:r>
            <a:endParaRPr lang="en-GB" dirty="0"/>
          </a:p>
        </p:txBody>
      </p:sp>
      <p:sp>
        <p:nvSpPr>
          <p:cNvPr id="15" name="Text Placeholder 14"/>
          <p:cNvSpPr>
            <a:spLocks noGrp="1"/>
          </p:cNvSpPr>
          <p:nvPr>
            <p:ph type="body" sz="quarter" idx="17" hasCustomPrompt="1"/>
          </p:nvPr>
        </p:nvSpPr>
        <p:spPr>
          <a:xfrm>
            <a:off x="4628400" y="4563232"/>
            <a:ext cx="4086522"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7" name="Text Placeholder 6"/>
          <p:cNvSpPr>
            <a:spLocks noGrp="1"/>
          </p:cNvSpPr>
          <p:nvPr>
            <p:ph type="body" sz="quarter" idx="18"/>
          </p:nvPr>
        </p:nvSpPr>
        <p:spPr>
          <a:xfrm>
            <a:off x="419100" y="1285875"/>
            <a:ext cx="3163824" cy="3427413"/>
          </a:xfrm>
        </p:spPr>
        <p:txBody>
          <a:bodyPr anchor="ctr"/>
          <a:lstStyle>
            <a:lvl1pPr marL="0" indent="0">
              <a:spcBef>
                <a:spcPts val="1800"/>
              </a:spcBef>
              <a:buFont typeface="Arial" pitchFamily="34" charset="0"/>
              <a:buNone/>
              <a:defRPr sz="1800"/>
            </a:lvl1pPr>
            <a:lvl2pPr marL="0" indent="0">
              <a:spcBef>
                <a:spcPts val="200"/>
              </a:spcBef>
              <a:buNone/>
              <a:defRPr sz="1600"/>
            </a:lvl2pPr>
            <a:lvl3pPr marL="0" indent="0">
              <a:spcBef>
                <a:spcPts val="200"/>
              </a:spcBef>
              <a:buNone/>
              <a:defRPr sz="1400"/>
            </a:lvl3pPr>
            <a:lvl4pPr marL="0" indent="0">
              <a:spcBef>
                <a:spcPts val="200"/>
              </a:spcBef>
              <a:buNone/>
              <a:defRPr sz="1400"/>
            </a:lvl4pPr>
            <a:lvl5pPr marL="0" indent="0">
              <a:spcBef>
                <a:spcPts val="200"/>
              </a:spcBef>
              <a:buNone/>
              <a:defRPr sz="1400"/>
            </a:lvl5pPr>
            <a:lvl6pPr marL="0" indent="0">
              <a:spcBef>
                <a:spcPts val="200"/>
              </a:spcBef>
              <a:buNone/>
              <a:defRPr sz="1400"/>
            </a:lvl6pPr>
            <a:lvl7pPr marL="0" indent="0">
              <a:spcBef>
                <a:spcPts val="200"/>
              </a:spcBef>
              <a:buNone/>
              <a:defRPr sz="1400"/>
            </a:lvl7pPr>
            <a:lvl8pPr marL="0" indent="0">
              <a:spcBef>
                <a:spcPts val="200"/>
              </a:spcBef>
              <a:buNone/>
              <a:defRPr sz="1400"/>
            </a:lvl8pPr>
            <a:lvl9pPr marL="0" indent="0">
              <a:spcBef>
                <a:spcPts val="200"/>
              </a:spcBef>
              <a:buNone/>
              <a:defRPr sz="14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th</a:t>
            </a:r>
          </a:p>
          <a:p>
            <a:pPr lvl="6"/>
            <a:r>
              <a:rPr lang="en-GB" dirty="0" smtClean="0"/>
              <a:t>Seventh</a:t>
            </a:r>
          </a:p>
          <a:p>
            <a:pPr lvl="7"/>
            <a:r>
              <a:rPr lang="en-GB" dirty="0" smtClean="0"/>
              <a:t>Eighth</a:t>
            </a:r>
          </a:p>
          <a:p>
            <a:pPr lvl="8"/>
            <a:r>
              <a:rPr lang="en-GB" dirty="0" smtClean="0"/>
              <a:t>Ninth</a:t>
            </a:r>
            <a:endParaRPr lang="en-GB" dirty="0"/>
          </a:p>
        </p:txBody>
      </p:sp>
    </p:spTree>
    <p:extLst>
      <p:ext uri="{BB962C8B-B14F-4D97-AF65-F5344CB8AC3E}">
        <p14:creationId xmlns:p14="http://schemas.microsoft.com/office/powerpoint/2010/main" val="3293644166"/>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19100" y="371475"/>
            <a:ext cx="8294689" cy="400051"/>
          </a:xfrm>
        </p:spPr>
        <p:txBody>
          <a:bodyPr vert="horz" lIns="0" tIns="0" rIns="0" bIns="0" rtlCol="0" anchor="b" anchorCtr="0">
            <a:noAutofit/>
          </a:bodyPr>
          <a:lstStyle>
            <a:lvl1pPr>
              <a:defRPr lang="en-GB" dirty="0"/>
            </a:lvl1pPr>
          </a:lstStyle>
          <a:p>
            <a:pPr lvl="0"/>
            <a:r>
              <a:rPr lang="en-GB" dirty="0" smtClean="0"/>
              <a:t>Click to edit Master title style</a:t>
            </a:r>
            <a:endParaRPr lang="en-GB" dirty="0"/>
          </a:p>
        </p:txBody>
      </p:sp>
      <p:sp>
        <p:nvSpPr>
          <p:cNvPr id="3" name="Content Placeholder 2"/>
          <p:cNvSpPr>
            <a:spLocks noGrp="1"/>
          </p:cNvSpPr>
          <p:nvPr>
            <p:ph idx="1"/>
          </p:nvPr>
        </p:nvSpPr>
        <p:spPr>
          <a:xfrm>
            <a:off x="4648200" y="1285875"/>
            <a:ext cx="4065589" cy="3089275"/>
          </a:xfrm>
        </p:spPr>
        <p:txBody>
          <a:bodyPr>
            <a:normAutofit/>
          </a:bodyPr>
          <a:lstStyle>
            <a:lvl1pPr>
              <a:defRPr sz="1800" b="0">
                <a:solidFill>
                  <a:schemeClr val="tx1"/>
                </a:solidFill>
              </a:defRPr>
            </a:lvl1pPr>
            <a:lvl2pPr marL="0" indent="0">
              <a:buNone/>
              <a:defRPr sz="1600">
                <a:solidFill>
                  <a:schemeClr val="tx1"/>
                </a:solidFill>
              </a:defRPr>
            </a:lvl2pPr>
            <a:lvl3pPr marL="291600">
              <a:defRPr sz="1400">
                <a:solidFill>
                  <a:schemeClr val="tx1"/>
                </a:solidFill>
              </a:defRPr>
            </a:lvl3pPr>
            <a:lvl4pPr marL="525600">
              <a:defRPr sz="1200">
                <a:solidFill>
                  <a:schemeClr val="tx1"/>
                </a:solidFill>
              </a:defRPr>
            </a:lvl4pPr>
            <a:lvl5pPr marL="525600">
              <a:defRPr sz="1200">
                <a:solidFill>
                  <a:schemeClr val="tx1"/>
                </a:solidFill>
              </a:defRPr>
            </a:lvl5pPr>
            <a:lvl6pPr marL="525600">
              <a:defRPr sz="1200"/>
            </a:lvl6pPr>
            <a:lvl7pPr marL="525600">
              <a:defRPr sz="1200"/>
            </a:lvl7pPr>
            <a:lvl8pPr marL="525600">
              <a:defRPr sz="1200"/>
            </a:lvl8pPr>
            <a:lvl9pPr marL="525600">
              <a:defRPr sz="12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Text Placeholder 3"/>
          <p:cNvSpPr>
            <a:spLocks noGrp="1"/>
          </p:cNvSpPr>
          <p:nvPr>
            <p:ph type="body" sz="half" idx="2"/>
          </p:nvPr>
        </p:nvSpPr>
        <p:spPr>
          <a:xfrm>
            <a:off x="419100" y="1476375"/>
            <a:ext cx="3159126" cy="2898775"/>
          </a:xfrm>
        </p:spPr>
        <p:txBody>
          <a:bodyPr>
            <a:noAutofit/>
          </a:bodyPr>
          <a:lstStyle>
            <a:lvl1pPr marL="0" indent="0">
              <a:spcBef>
                <a:spcPts val="600"/>
              </a:spcBef>
              <a:buNone/>
              <a:defRPr sz="1800" b="0">
                <a:solidFill>
                  <a:schemeClr val="tx1"/>
                </a:solidFill>
              </a:defRPr>
            </a:lvl1pPr>
            <a:lvl2pPr marL="0" indent="0">
              <a:spcBef>
                <a:spcPts val="600"/>
              </a:spcBef>
              <a:buNone/>
              <a:defRPr sz="1600" b="0"/>
            </a:lvl2pPr>
            <a:lvl3pPr marL="291600" indent="-133200">
              <a:spcBef>
                <a:spcPts val="600"/>
              </a:spcBef>
              <a:buFont typeface="Arial" pitchFamily="34" charset="0"/>
              <a:buChar char="•"/>
              <a:defRPr sz="1400" b="0"/>
            </a:lvl3pPr>
            <a:lvl4pPr marL="525600" indent="-133200">
              <a:spcBef>
                <a:spcPts val="600"/>
              </a:spcBef>
              <a:buFont typeface="Arial" pitchFamily="34" charset="0"/>
              <a:buChar char="•"/>
              <a:defRPr sz="1200" b="0"/>
            </a:lvl4pPr>
            <a:lvl5pPr marL="525600" indent="-133200">
              <a:spcBef>
                <a:spcPts val="600"/>
              </a:spcBef>
              <a:buFont typeface="Arial" pitchFamily="34" charset="0"/>
              <a:buChar char="•"/>
              <a:defRPr sz="1200" b="0"/>
            </a:lvl5pPr>
            <a:lvl6pPr marL="525600" indent="-133200">
              <a:spcBef>
                <a:spcPts val="600"/>
              </a:spcBef>
              <a:buFont typeface="Arial" pitchFamily="34" charset="0"/>
              <a:buChar char="•"/>
              <a:defRPr sz="1200" b="0"/>
            </a:lvl6pPr>
            <a:lvl7pPr marL="525600" indent="-133200">
              <a:spcBef>
                <a:spcPts val="600"/>
              </a:spcBef>
              <a:buFont typeface="Arial" pitchFamily="34" charset="0"/>
              <a:buChar char="•"/>
              <a:defRPr sz="1200" b="0"/>
            </a:lvl7pPr>
            <a:lvl8pPr marL="525600" indent="-133200">
              <a:spcBef>
                <a:spcPts val="600"/>
              </a:spcBef>
              <a:buFont typeface="Arial" pitchFamily="34" charset="0"/>
              <a:buChar char="•"/>
              <a:defRPr sz="1200" b="0"/>
            </a:lvl8pPr>
            <a:lvl9pPr marL="525600" indent="-133200">
              <a:spcBef>
                <a:spcPts val="600"/>
              </a:spcBef>
              <a:buFont typeface="Arial" pitchFamily="34" charset="0"/>
              <a:buChar char="•"/>
              <a:defRPr sz="1200" b="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6" name="Footer Placeholder 5"/>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7" name="Slide Number Placeholder 6"/>
          <p:cNvSpPr>
            <a:spLocks noGrp="1"/>
          </p:cNvSpPr>
          <p:nvPr>
            <p:ph type="sldNum" sz="quarter" idx="12"/>
          </p:nvPr>
        </p:nvSpPr>
        <p:spPr/>
        <p:txBody>
          <a:bodyPr/>
          <a:lstStyle/>
          <a:p>
            <a:fld id="{DF28FB93-0A08-4E7D-8E63-9EFA29F1E093}" type="slidenum">
              <a:rPr lang="en-GB" smtClean="0"/>
              <a:pPr/>
              <a:t>‹#›</a:t>
            </a:fld>
            <a:endParaRPr lang="en-GB" dirty="0"/>
          </a:p>
        </p:txBody>
      </p:sp>
      <p:sp>
        <p:nvSpPr>
          <p:cNvPr id="9"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Tree>
    <p:extLst>
      <p:ext uri="{BB962C8B-B14F-4D97-AF65-F5344CB8AC3E}">
        <p14:creationId xmlns:p14="http://schemas.microsoft.com/office/powerpoint/2010/main" val="278838129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Char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19100" y="371475"/>
            <a:ext cx="8294689" cy="400051"/>
          </a:xfrm>
        </p:spPr>
        <p:txBody>
          <a:bodyPr vert="horz" lIns="0" tIns="0" rIns="0" bIns="0" rtlCol="0" anchor="b" anchorCtr="0">
            <a:noAutofit/>
          </a:bodyPr>
          <a:lstStyle>
            <a:lvl1pPr>
              <a:defRPr lang="en-GB" dirty="0"/>
            </a:lvl1pPr>
          </a:lstStyle>
          <a:p>
            <a:pPr lvl="0"/>
            <a:r>
              <a:rPr lang="en-GB" dirty="0" smtClean="0"/>
              <a:t>Click to edit Master title style</a:t>
            </a:r>
            <a:endParaRPr lang="en-GB" dirty="0"/>
          </a:p>
        </p:txBody>
      </p:sp>
      <p:sp>
        <p:nvSpPr>
          <p:cNvPr id="4" name="Text Placeholder 3"/>
          <p:cNvSpPr>
            <a:spLocks noGrp="1"/>
          </p:cNvSpPr>
          <p:nvPr>
            <p:ph type="body" sz="half" idx="2"/>
          </p:nvPr>
        </p:nvSpPr>
        <p:spPr>
          <a:xfrm>
            <a:off x="419100" y="1476375"/>
            <a:ext cx="3159126" cy="2898775"/>
          </a:xfrm>
        </p:spPr>
        <p:txBody>
          <a:bodyPr>
            <a:noAutofit/>
          </a:bodyPr>
          <a:lstStyle>
            <a:lvl1pPr marL="0" indent="0">
              <a:spcBef>
                <a:spcPts val="600"/>
              </a:spcBef>
              <a:buNone/>
              <a:defRPr sz="1800" b="0">
                <a:solidFill>
                  <a:schemeClr val="tx1"/>
                </a:solidFill>
              </a:defRPr>
            </a:lvl1pPr>
            <a:lvl2pPr marL="0" indent="0">
              <a:spcBef>
                <a:spcPts val="600"/>
              </a:spcBef>
              <a:buNone/>
              <a:defRPr sz="1600" b="0"/>
            </a:lvl2pPr>
            <a:lvl3pPr marL="291600" indent="-133200">
              <a:spcBef>
                <a:spcPts val="600"/>
              </a:spcBef>
              <a:buFont typeface="Arial" pitchFamily="34" charset="0"/>
              <a:buChar char="•"/>
              <a:defRPr sz="1400" b="0"/>
            </a:lvl3pPr>
            <a:lvl4pPr marL="525600" indent="-133200">
              <a:spcBef>
                <a:spcPts val="600"/>
              </a:spcBef>
              <a:buFont typeface="Arial" pitchFamily="34" charset="0"/>
              <a:buChar char="•"/>
              <a:defRPr sz="1200" b="0"/>
            </a:lvl4pPr>
            <a:lvl5pPr marL="525600" indent="-133200">
              <a:spcBef>
                <a:spcPts val="600"/>
              </a:spcBef>
              <a:buFont typeface="Arial" pitchFamily="34" charset="0"/>
              <a:buChar char="•"/>
              <a:defRPr sz="1200" b="0"/>
            </a:lvl5pPr>
            <a:lvl6pPr marL="525600" indent="-133200">
              <a:spcBef>
                <a:spcPts val="600"/>
              </a:spcBef>
              <a:buFont typeface="Arial" pitchFamily="34" charset="0"/>
              <a:buChar char="•"/>
              <a:defRPr sz="1200" b="0"/>
            </a:lvl6pPr>
            <a:lvl7pPr marL="525600" indent="-133200">
              <a:spcBef>
                <a:spcPts val="600"/>
              </a:spcBef>
              <a:buFont typeface="Arial" pitchFamily="34" charset="0"/>
              <a:buChar char="•"/>
              <a:defRPr sz="1200" b="0"/>
            </a:lvl7pPr>
            <a:lvl8pPr marL="525600" indent="-133200">
              <a:spcBef>
                <a:spcPts val="600"/>
              </a:spcBef>
              <a:buFont typeface="Arial" pitchFamily="34" charset="0"/>
              <a:buChar char="•"/>
              <a:defRPr sz="1200" b="0"/>
            </a:lvl8pPr>
            <a:lvl9pPr marL="525600" indent="-133200">
              <a:spcBef>
                <a:spcPts val="600"/>
              </a:spcBef>
              <a:buFont typeface="Arial" pitchFamily="34" charset="0"/>
              <a:buChar char="•"/>
              <a:defRPr sz="1200" b="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9"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
        <p:nvSpPr>
          <p:cNvPr id="8" name="Chart Placeholder 7"/>
          <p:cNvSpPr>
            <a:spLocks noGrp="1"/>
          </p:cNvSpPr>
          <p:nvPr>
            <p:ph type="chart" sz="quarter" idx="14"/>
          </p:nvPr>
        </p:nvSpPr>
        <p:spPr>
          <a:xfrm>
            <a:off x="4648200" y="1285875"/>
            <a:ext cx="4065589" cy="3089275"/>
          </a:xfrm>
        </p:spPr>
        <p:txBody>
          <a:bodyPr/>
          <a:lstStyle>
            <a:lvl1pPr>
              <a:defRPr b="0"/>
            </a:lvl1pPr>
          </a:lstStyle>
          <a:p>
            <a:endParaRPr lang="en-GB" dirty="0"/>
          </a:p>
        </p:txBody>
      </p:sp>
    </p:spTree>
    <p:extLst>
      <p:ext uri="{BB962C8B-B14F-4D97-AF65-F5344CB8AC3E}">
        <p14:creationId xmlns:p14="http://schemas.microsoft.com/office/powerpoint/2010/main" val="3645183135"/>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Picture with Story">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0" y="0"/>
            <a:ext cx="9144000" cy="5143500"/>
          </a:xfrm>
        </p:spPr>
        <p:txBody>
          <a:bodyPr tIns="91440" bIns="0" anchor="t">
            <a:normAutofit/>
          </a:bodyPr>
          <a:lstStyle>
            <a:lvl1pPr algn="ctr">
              <a:spcBef>
                <a:spcPts val="0"/>
              </a:spcBef>
              <a:defRPr sz="1400" baseline="0"/>
            </a:lvl1pPr>
          </a:lstStyle>
          <a:p>
            <a:r>
              <a:rPr lang="en-US" dirty="0" smtClean="0"/>
              <a:t>To insert a Mindshare image, on the Mindshare tab of the ribbon,  click Mindshare Images. </a:t>
            </a:r>
            <a:br>
              <a:rPr lang="en-US" dirty="0" smtClean="0"/>
            </a:br>
            <a:r>
              <a:rPr lang="en-US" dirty="0" smtClean="0"/>
              <a:t>To insert an image from your files,  click the icon in the centre of the placeholder.</a:t>
            </a:r>
            <a:r>
              <a:rPr lang="en-GB" dirty="0" smtClean="0"/>
              <a:t> (If you do </a:t>
            </a:r>
            <a:br>
              <a:rPr lang="en-GB" dirty="0" smtClean="0"/>
            </a:br>
            <a:r>
              <a:rPr lang="en-GB" dirty="0" smtClean="0"/>
              <a:t>not see the icon, on the Insert tab, in the Images group, click Picture.)</a:t>
            </a:r>
            <a:br>
              <a:rPr lang="en-GB" dirty="0" smtClean="0"/>
            </a:br>
            <a:r>
              <a:rPr lang="en-GB" dirty="0" smtClean="0"/>
              <a:t/>
            </a:r>
            <a:br>
              <a:rPr lang="en-GB" dirty="0" smtClean="0"/>
            </a:br>
            <a:r>
              <a:rPr lang="en-GB" dirty="0" smtClean="0"/>
              <a:t>After replacing your image, on the Picture Tools Format tab, in the Arrange group, </a:t>
            </a:r>
            <a:br>
              <a:rPr lang="en-GB" dirty="0" smtClean="0"/>
            </a:br>
            <a:r>
              <a:rPr lang="en-GB" dirty="0" smtClean="0"/>
              <a:t>click the arrow beside Send Backward and then click Send to Back to display text.</a:t>
            </a:r>
          </a:p>
        </p:txBody>
      </p:sp>
      <p:sp>
        <p:nvSpPr>
          <p:cNvPr id="2" name="Title 1"/>
          <p:cNvSpPr>
            <a:spLocks noGrp="1"/>
          </p:cNvSpPr>
          <p:nvPr>
            <p:ph type="title" hasCustomPrompt="1"/>
          </p:nvPr>
        </p:nvSpPr>
        <p:spPr>
          <a:xfrm>
            <a:off x="0" y="2260132"/>
            <a:ext cx="9144000" cy="615553"/>
          </a:xfrm>
          <a:solidFill>
            <a:schemeClr val="accent5"/>
          </a:solidFill>
        </p:spPr>
        <p:txBody>
          <a:bodyPr lIns="457200" tIns="91440" rIns="457200" bIns="91440" anchor="ctr">
            <a:spAutoFit/>
          </a:bodyPr>
          <a:lstStyle>
            <a:lvl1pPr algn="ctr">
              <a:defRPr b="0"/>
            </a:lvl1pPr>
          </a:lstStyle>
          <a:p>
            <a:r>
              <a:rPr lang="en-GB" dirty="0" smtClean="0"/>
              <a:t>Story copy</a:t>
            </a:r>
            <a:endParaRPr lang="en-GB" dirty="0"/>
          </a:p>
        </p:txBody>
      </p:sp>
      <p:sp>
        <p:nvSpPr>
          <p:cNvPr id="9" name="Text Placeholder 14"/>
          <p:cNvSpPr>
            <a:spLocks noGrp="1"/>
          </p:cNvSpPr>
          <p:nvPr>
            <p:ph type="body" sz="quarter" idx="17" hasCustomPrompt="1"/>
          </p:nvPr>
        </p:nvSpPr>
        <p:spPr>
          <a:xfrm>
            <a:off x="4628400" y="4563232"/>
            <a:ext cx="4086522"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Tree>
    <p:extLst>
      <p:ext uri="{BB962C8B-B14F-4D97-AF65-F5344CB8AC3E}">
        <p14:creationId xmlns:p14="http://schemas.microsoft.com/office/powerpoint/2010/main" val="2563334280"/>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Picture with Story, Alt.">
    <p:bg>
      <p:bgRef idx="1001">
        <a:schemeClr val="bg1"/>
      </p:bgRef>
    </p:bg>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0" y="0"/>
            <a:ext cx="9144000" cy="5143500"/>
          </a:xfrm>
        </p:spPr>
        <p:txBody>
          <a:bodyPr lIns="457200" tIns="91440" rIns="457200" bIns="0" anchor="t">
            <a:normAutofit/>
          </a:bodyPr>
          <a:lstStyle>
            <a:lvl1pPr algn="ctr">
              <a:spcBef>
                <a:spcPts val="0"/>
              </a:spcBef>
              <a:defRPr sz="1400"/>
            </a:lvl1pPr>
          </a:lstStyle>
          <a:p>
            <a:r>
              <a:rPr lang="en-US" dirty="0" smtClean="0"/>
              <a:t>To insert a Mindshare image, on the Mindshare tab of the ribbon,  click Mindshare Images. </a:t>
            </a:r>
            <a:br>
              <a:rPr lang="en-US" dirty="0" smtClean="0"/>
            </a:br>
            <a:r>
              <a:rPr lang="en-US" dirty="0" smtClean="0"/>
              <a:t>To insert an image from your files,  click the icon in the centre of the placeholder.</a:t>
            </a:r>
            <a:r>
              <a:rPr lang="en-GB" dirty="0" smtClean="0"/>
              <a:t> (If you do </a:t>
            </a:r>
            <a:br>
              <a:rPr lang="en-GB" dirty="0" smtClean="0"/>
            </a:br>
            <a:r>
              <a:rPr lang="en-GB" dirty="0" smtClean="0"/>
              <a:t>not see the icon, on the Insert tab, in the Images group, click Picture.)</a:t>
            </a:r>
            <a:br>
              <a:rPr lang="en-GB" dirty="0" smtClean="0"/>
            </a:br>
            <a:r>
              <a:rPr lang="en-GB" dirty="0" smtClean="0"/>
              <a:t/>
            </a:r>
            <a:br>
              <a:rPr lang="en-GB" dirty="0" smtClean="0"/>
            </a:br>
            <a:r>
              <a:rPr lang="en-GB" dirty="0" smtClean="0"/>
              <a:t>After replacing your image, on the Picture Tools Format tab, in the Arrange group, </a:t>
            </a:r>
            <a:br>
              <a:rPr lang="en-GB" dirty="0" smtClean="0"/>
            </a:br>
            <a:r>
              <a:rPr lang="en-GB" dirty="0" smtClean="0"/>
              <a:t>click the arrow beside Send Backward and then click Send to Back to display text.</a:t>
            </a:r>
            <a:endParaRPr lang="en-GB" dirty="0"/>
          </a:p>
        </p:txBody>
      </p:sp>
      <p:sp>
        <p:nvSpPr>
          <p:cNvPr id="2" name="Title 1"/>
          <p:cNvSpPr>
            <a:spLocks noGrp="1"/>
          </p:cNvSpPr>
          <p:nvPr>
            <p:ph type="title" hasCustomPrompt="1"/>
          </p:nvPr>
        </p:nvSpPr>
        <p:spPr>
          <a:xfrm>
            <a:off x="0" y="2260132"/>
            <a:ext cx="9144000" cy="615553"/>
          </a:xfrm>
          <a:solidFill>
            <a:schemeClr val="bg1"/>
          </a:solidFill>
        </p:spPr>
        <p:txBody>
          <a:bodyPr wrap="square" lIns="457200" tIns="91440" rIns="457200" bIns="91440" anchor="ctr">
            <a:spAutoFit/>
          </a:bodyPr>
          <a:lstStyle>
            <a:lvl1pPr algn="ctr">
              <a:defRPr b="0"/>
            </a:lvl1pPr>
          </a:lstStyle>
          <a:p>
            <a:r>
              <a:rPr lang="en-GB" dirty="0" smtClean="0"/>
              <a:t>Story copy</a:t>
            </a:r>
            <a:endParaRPr lang="en-GB" dirty="0"/>
          </a:p>
        </p:txBody>
      </p:sp>
      <p:sp>
        <p:nvSpPr>
          <p:cNvPr id="9" name="Text Placeholder 14"/>
          <p:cNvSpPr>
            <a:spLocks noGrp="1"/>
          </p:cNvSpPr>
          <p:nvPr>
            <p:ph type="body" sz="quarter" idx="17" hasCustomPrompt="1"/>
          </p:nvPr>
        </p:nvSpPr>
        <p:spPr>
          <a:xfrm>
            <a:off x="4628400" y="4563232"/>
            <a:ext cx="4086522"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Tree>
    <p:extLst>
      <p:ext uri="{BB962C8B-B14F-4D97-AF65-F5344CB8AC3E}">
        <p14:creationId xmlns:p14="http://schemas.microsoft.com/office/powerpoint/2010/main" val="1279946978"/>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Large Picture">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0" y="0"/>
            <a:ext cx="9144000" cy="5143500"/>
          </a:xfrm>
        </p:spPr>
        <p:txBody>
          <a:bodyPr tIns="1332000" bIns="0" anchor="t">
            <a:normAutofit/>
          </a:bodyPr>
          <a:lstStyle>
            <a:lvl1pPr algn="ctr">
              <a:spcBef>
                <a:spcPts val="0"/>
              </a:spcBef>
              <a:defRPr sz="1600"/>
            </a:lvl1pPr>
          </a:lstStyle>
          <a:p>
            <a:r>
              <a:rPr lang="en-US" dirty="0" smtClean="0"/>
              <a:t>To insert a Mindshare image, on the Mindshare tab of the ribbon,  click Mindshare Images.</a:t>
            </a:r>
            <a:br>
              <a:rPr lang="en-US" dirty="0" smtClean="0"/>
            </a:br>
            <a:r>
              <a:rPr lang="en-US" dirty="0" smtClean="0"/>
              <a:t>To insert an image from your files,  click the icon in the centre of the placeholder.</a:t>
            </a:r>
          </a:p>
          <a:p>
            <a:endParaRPr lang="en-GB" dirty="0"/>
          </a:p>
        </p:txBody>
      </p:sp>
      <p:sp>
        <p:nvSpPr>
          <p:cNvPr id="9" name="Text Placeholder 14"/>
          <p:cNvSpPr>
            <a:spLocks noGrp="1"/>
          </p:cNvSpPr>
          <p:nvPr>
            <p:ph type="body" sz="quarter" idx="17" hasCustomPrompt="1"/>
          </p:nvPr>
        </p:nvSpPr>
        <p:spPr>
          <a:xfrm>
            <a:off x="4628400" y="4563232"/>
            <a:ext cx="4086522"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Tree>
    <p:extLst>
      <p:ext uri="{BB962C8B-B14F-4D97-AF65-F5344CB8AC3E}">
        <p14:creationId xmlns:p14="http://schemas.microsoft.com/office/powerpoint/2010/main" val="60686963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9100" y="371475"/>
            <a:ext cx="8294688" cy="400051"/>
          </a:xfrm>
        </p:spPr>
        <p:txBody>
          <a:bodyPr/>
          <a:lstStyle/>
          <a:p>
            <a:r>
              <a:rPr lang="en-GB" dirty="0" smtClean="0"/>
              <a:t>Click to edit Master title style</a:t>
            </a:r>
            <a:endParaRPr lang="en-GB" dirty="0"/>
          </a:p>
        </p:txBody>
      </p:sp>
      <p:sp>
        <p:nvSpPr>
          <p:cNvPr id="7" name="Text Placeholder 7"/>
          <p:cNvSpPr>
            <a:spLocks noGrp="1"/>
          </p:cNvSpPr>
          <p:nvPr>
            <p:ph type="body" sz="quarter" idx="13" hasCustomPrompt="1"/>
          </p:nvPr>
        </p:nvSpPr>
        <p:spPr>
          <a:xfrm>
            <a:off x="419100" y="771525"/>
            <a:ext cx="8294688" cy="314325"/>
          </a:xfrm>
        </p:spPr>
        <p:txBody>
          <a:bodyPr>
            <a:noAutofit/>
          </a:bodyPr>
          <a:lstStyle>
            <a:lvl1pPr marL="0" indent="0" algn="l">
              <a:spcBef>
                <a:spcPts val="0"/>
              </a:spcBef>
              <a:defRPr sz="2200" b="0"/>
            </a:lvl1pPr>
            <a:lvl2pPr marL="0" indent="0" algn="l">
              <a:spcBef>
                <a:spcPts val="0"/>
              </a:spcBef>
              <a:defRPr sz="1800" b="0"/>
            </a:lvl2pPr>
            <a:lvl3pPr marL="0" indent="0" algn="l">
              <a:spcBef>
                <a:spcPts val="0"/>
              </a:spcBef>
              <a:defRPr sz="1800" b="0"/>
            </a:lvl3pPr>
            <a:lvl4pPr marL="0" indent="0" algn="l">
              <a:spcBef>
                <a:spcPts val="0"/>
              </a:spcBef>
              <a:defRPr sz="1800" b="0"/>
            </a:lvl4pPr>
            <a:lvl5pPr marL="0" indent="0" algn="l">
              <a:spcBef>
                <a:spcPts val="0"/>
              </a:spcBef>
              <a:defRPr sz="1800" b="0"/>
            </a:lvl5pPr>
          </a:lstStyle>
          <a:p>
            <a:pPr lvl="0"/>
            <a:r>
              <a:rPr lang="en-GB" dirty="0" smtClean="0"/>
              <a:t>Subtitle</a:t>
            </a:r>
            <a:endParaRPr lang="en-GB" dirty="0"/>
          </a:p>
        </p:txBody>
      </p:sp>
      <p:sp>
        <p:nvSpPr>
          <p:cNvPr id="3" name="Content Placeholder 2"/>
          <p:cNvSpPr>
            <a:spLocks noGrp="1"/>
          </p:cNvSpPr>
          <p:nvPr>
            <p:ph idx="1"/>
          </p:nvPr>
        </p:nvSpPr>
        <p:spPr/>
        <p:txBody>
          <a:bodyPr/>
          <a:lstStyle>
            <a:lvl5pPr marL="1983600">
              <a:defRPr/>
            </a:lvl5pPr>
            <a:lvl6pPr marL="1983600">
              <a:defRPr/>
            </a:lvl6pPr>
            <a:lvl7pPr marL="1983600">
              <a:defRPr/>
            </a:lvl7pPr>
            <a:lvl8pPr marL="1983600">
              <a:defRPr/>
            </a:lvl8pPr>
            <a:lvl9pPr marL="1983600">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Footer Placeholder 4"/>
          <p:cNvSpPr>
            <a:spLocks noGrp="1"/>
          </p:cNvSpPr>
          <p:nvPr>
            <p:ph type="ftr" sz="quarter" idx="11"/>
          </p:nvPr>
        </p:nvSpPr>
        <p:spPr/>
        <p:txBody>
          <a:bodyPr/>
          <a:lstStyle/>
          <a:p>
            <a:r>
              <a:rPr lang="en-GB" dirty="0" smtClean="0"/>
              <a:t>To update this brand zone text, on the Insert tab, click Header &amp; Footer</a:t>
            </a:r>
            <a:endParaRPr lang="en-GB" dirty="0"/>
          </a:p>
        </p:txBody>
      </p:sp>
      <p:sp>
        <p:nvSpPr>
          <p:cNvPr id="6" name="Slide Number Placeholder 5"/>
          <p:cNvSpPr>
            <a:spLocks noGrp="1"/>
          </p:cNvSpPr>
          <p:nvPr>
            <p:ph type="sldNum" sz="quarter" idx="12"/>
          </p:nvPr>
        </p:nvSpPr>
        <p:spPr/>
        <p:txBody>
          <a:bodyPr/>
          <a:lstStyle/>
          <a:p>
            <a:fld id="{DF28FB93-0A08-4E7D-8E63-9EFA29F1E093}" type="slidenum">
              <a:rPr lang="en-GB" smtClean="0"/>
              <a:pPr/>
              <a:t>‹#›</a:t>
            </a:fld>
            <a:endParaRPr lang="en-GB" dirty="0"/>
          </a:p>
        </p:txBody>
      </p:sp>
    </p:spTree>
    <p:extLst>
      <p:ext uri="{BB962C8B-B14F-4D97-AF65-F5344CB8AC3E}">
        <p14:creationId xmlns:p14="http://schemas.microsoft.com/office/powerpoint/2010/main" val="1055624133"/>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Picture with Title">
    <p:bg>
      <p:bgRef idx="1001">
        <a:schemeClr val="bg1"/>
      </p:bgRef>
    </p:bg>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0" y="0"/>
            <a:ext cx="9144000" cy="5143500"/>
          </a:xfrm>
        </p:spPr>
        <p:txBody>
          <a:bodyPr tIns="1692000" bIns="0" anchor="t">
            <a:normAutofit/>
          </a:bodyPr>
          <a:lstStyle>
            <a:lvl1pPr algn="ctr">
              <a:spcBef>
                <a:spcPts val="0"/>
              </a:spcBef>
              <a:defRPr sz="1600"/>
            </a:lvl1pPr>
          </a:lstStyle>
          <a:p>
            <a:r>
              <a:rPr lang="en-US" dirty="0" smtClean="0"/>
              <a:t>To insert a Mindshare image, on the Mindshare tab of the ribbon,  click Mindshare Images. </a:t>
            </a:r>
            <a:br>
              <a:rPr lang="en-US" dirty="0" smtClean="0"/>
            </a:br>
            <a:r>
              <a:rPr lang="en-US" dirty="0" smtClean="0"/>
              <a:t>To insert an image from your files,  click the icon in the centre of the placeholder.</a:t>
            </a:r>
          </a:p>
          <a:p>
            <a:endParaRPr lang="en-GB" dirty="0"/>
          </a:p>
        </p:txBody>
      </p:sp>
      <p:sp>
        <p:nvSpPr>
          <p:cNvPr id="2" name="Title 1"/>
          <p:cNvSpPr>
            <a:spLocks noGrp="1"/>
          </p:cNvSpPr>
          <p:nvPr>
            <p:ph type="title" hasCustomPrompt="1"/>
          </p:nvPr>
        </p:nvSpPr>
        <p:spPr>
          <a:xfrm>
            <a:off x="419100" y="371475"/>
            <a:ext cx="8294689" cy="400051"/>
          </a:xfrm>
        </p:spPr>
        <p:txBody>
          <a:bodyPr vert="horz" lIns="0" tIns="0" rIns="0" bIns="0" rtlCol="0" anchor="b" anchorCtr="0">
            <a:noAutofit/>
          </a:bodyPr>
          <a:lstStyle>
            <a:lvl1pPr>
              <a:defRPr lang="en-GB" dirty="0"/>
            </a:lvl1pPr>
          </a:lstStyle>
          <a:p>
            <a:pPr lvl="0"/>
            <a:r>
              <a:rPr lang="en-GB" dirty="0" smtClean="0"/>
              <a:t>Picture with title</a:t>
            </a:r>
            <a:endParaRPr lang="en-GB" dirty="0"/>
          </a:p>
        </p:txBody>
      </p:sp>
      <p:sp>
        <p:nvSpPr>
          <p:cNvPr id="9" name="Text Placeholder 14"/>
          <p:cNvSpPr>
            <a:spLocks noGrp="1"/>
          </p:cNvSpPr>
          <p:nvPr>
            <p:ph type="body" sz="quarter" idx="17" hasCustomPrompt="1"/>
          </p:nvPr>
        </p:nvSpPr>
        <p:spPr>
          <a:xfrm>
            <a:off x="4628400" y="4563232"/>
            <a:ext cx="4086522"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Tree>
    <p:extLst>
      <p:ext uri="{BB962C8B-B14F-4D97-AF65-F5344CB8AC3E}">
        <p14:creationId xmlns:p14="http://schemas.microsoft.com/office/powerpoint/2010/main" val="333196488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Picture with Bulleted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419100" y="2868415"/>
            <a:ext cx="8294689" cy="1836935"/>
          </a:xfrm>
        </p:spPr>
        <p:txBody>
          <a:bodyPr/>
          <a:lstStyle>
            <a:lvl1pPr>
              <a:defRPr sz="1800"/>
            </a:lvl1pPr>
            <a:lvl2pPr>
              <a:defRPr sz="1800"/>
            </a:lvl2pPr>
            <a:lvl3pPr>
              <a:defRPr sz="1600"/>
            </a:lvl3pPr>
            <a:lvl4pPr>
              <a:defRPr sz="1600"/>
            </a:lvl4pPr>
            <a:lvl5pPr>
              <a:defRPr sz="1600"/>
            </a:lvl5pPr>
            <a:lvl6pPr marL="1984248">
              <a:defRPr/>
            </a:lvl6pPr>
            <a:lvl7pPr marL="1984248">
              <a:defRPr/>
            </a:lvl7pPr>
            <a:lvl8pPr marL="1984248">
              <a:defRPr/>
            </a:lvl8pPr>
            <a:lvl9pPr marL="1984248">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Footer Placeholder 4"/>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6" name="Slide Number Placeholder 5"/>
          <p:cNvSpPr>
            <a:spLocks noGrp="1"/>
          </p:cNvSpPr>
          <p:nvPr>
            <p:ph type="sldNum" sz="quarter" idx="12"/>
          </p:nvPr>
        </p:nvSpPr>
        <p:spPr/>
        <p:txBody>
          <a:bodyPr/>
          <a:lstStyle/>
          <a:p>
            <a:fld id="{DF28FB93-0A08-4E7D-8E63-9EFA29F1E093}" type="slidenum">
              <a:rPr lang="en-GB" smtClean="0"/>
              <a:pPr/>
              <a:t>‹#›</a:t>
            </a:fld>
            <a:endParaRPr lang="en-GB" dirty="0"/>
          </a:p>
        </p:txBody>
      </p:sp>
      <p:sp>
        <p:nvSpPr>
          <p:cNvPr id="8" name="Picture Placeholder 6"/>
          <p:cNvSpPr>
            <a:spLocks noGrp="1"/>
          </p:cNvSpPr>
          <p:nvPr>
            <p:ph type="pic" sz="quarter" idx="13" hasCustomPrompt="1"/>
          </p:nvPr>
        </p:nvSpPr>
        <p:spPr>
          <a:xfrm>
            <a:off x="0" y="0"/>
            <a:ext cx="9144000" cy="2571750"/>
          </a:xfrm>
        </p:spPr>
        <p:txBody>
          <a:bodyPr tIns="457200" bIns="0" anchor="t">
            <a:normAutofit/>
          </a:bodyPr>
          <a:lstStyle>
            <a:lvl1pPr algn="ctr">
              <a:spcBef>
                <a:spcPts val="0"/>
              </a:spcBef>
              <a:defRPr sz="1600"/>
            </a:lvl1pPr>
          </a:lstStyle>
          <a:p>
            <a:r>
              <a:rPr lang="en-US" dirty="0" smtClean="0"/>
              <a:t>To insert a Mindshare image, on the Mindshare tab of the ribbon,  click Mindshare Images. </a:t>
            </a:r>
            <a:br>
              <a:rPr lang="en-US" dirty="0" smtClean="0"/>
            </a:br>
            <a:r>
              <a:rPr lang="en-US" dirty="0" smtClean="0"/>
              <a:t>To insert an image from your files,  click the icon in the centre of the placeholder.</a:t>
            </a:r>
          </a:p>
        </p:txBody>
      </p:sp>
      <p:sp>
        <p:nvSpPr>
          <p:cNvPr id="9" name="Text Placeholder 14"/>
          <p:cNvSpPr>
            <a:spLocks noGrp="1"/>
          </p:cNvSpPr>
          <p:nvPr>
            <p:ph type="body" sz="quarter" idx="17" hasCustomPrompt="1"/>
          </p:nvPr>
        </p:nvSpPr>
        <p:spPr>
          <a:xfrm>
            <a:off x="5238000" y="2423250"/>
            <a:ext cx="3906000"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Tree>
    <p:extLst>
      <p:ext uri="{BB962C8B-B14F-4D97-AF65-F5344CB8AC3E}">
        <p14:creationId xmlns:p14="http://schemas.microsoft.com/office/powerpoint/2010/main" val="845414098"/>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19100" y="371475"/>
            <a:ext cx="8294689" cy="400051"/>
          </a:xfrm>
        </p:spPr>
        <p:txBody>
          <a:bodyPr vert="horz" lIns="0" tIns="0" rIns="0" bIns="0" rtlCol="0" anchor="b" anchorCtr="0">
            <a:noAutofit/>
          </a:bodyPr>
          <a:lstStyle>
            <a:lvl1pPr>
              <a:defRPr lang="en-GB" dirty="0"/>
            </a:lvl1pPr>
          </a:lstStyle>
          <a:p>
            <a:pPr lvl="0"/>
            <a:r>
              <a:rPr lang="en-GB" dirty="0" smtClean="0"/>
              <a:t>Click to edit Master title style</a:t>
            </a:r>
            <a:endParaRPr lang="en-GB" dirty="0"/>
          </a:p>
        </p:txBody>
      </p:sp>
      <p:sp>
        <p:nvSpPr>
          <p:cNvPr id="3" name="Picture Placeholder 2"/>
          <p:cNvSpPr>
            <a:spLocks noGrp="1"/>
          </p:cNvSpPr>
          <p:nvPr>
            <p:ph type="pic" idx="1" hasCustomPrompt="1"/>
          </p:nvPr>
        </p:nvSpPr>
        <p:spPr>
          <a:xfrm>
            <a:off x="4648200" y="1285875"/>
            <a:ext cx="4065589" cy="3089275"/>
          </a:xfrm>
        </p:spPr>
        <p:txBody>
          <a:bodyPr tIns="432000">
            <a:normAutofit/>
          </a:bodyPr>
          <a:lstStyle>
            <a:lvl1pPr marL="0" indent="0" algn="ctr">
              <a:buNone/>
              <a:defRPr sz="11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To insert a Mindshare image, on the Mindshare tab of the ribbon,  click Mindshare Images. To insert an image from your files,  click the icon in the centre of the placeholder.</a:t>
            </a:r>
          </a:p>
          <a:p>
            <a:endParaRPr lang="en-GB" dirty="0"/>
          </a:p>
        </p:txBody>
      </p:sp>
      <p:sp>
        <p:nvSpPr>
          <p:cNvPr id="4" name="Text Placeholder 3"/>
          <p:cNvSpPr>
            <a:spLocks noGrp="1"/>
          </p:cNvSpPr>
          <p:nvPr>
            <p:ph type="body" sz="half" idx="2"/>
          </p:nvPr>
        </p:nvSpPr>
        <p:spPr>
          <a:xfrm>
            <a:off x="419100" y="1476375"/>
            <a:ext cx="3159126" cy="2898775"/>
          </a:xfrm>
        </p:spPr>
        <p:txBody>
          <a:bodyPr>
            <a:normAutofit/>
          </a:bodyPr>
          <a:lstStyle>
            <a:lvl1pPr marL="0" indent="0">
              <a:buNone/>
              <a:defRPr sz="1800" b="0"/>
            </a:lvl1pPr>
            <a:lvl2pPr marL="0" indent="0">
              <a:buNone/>
              <a:defRPr sz="1600"/>
            </a:lvl2pPr>
            <a:lvl3pPr marL="291600" indent="-133200">
              <a:buFont typeface="Arial" pitchFamily="34" charset="0"/>
              <a:buChar char="•"/>
              <a:defRPr sz="1400"/>
            </a:lvl3pPr>
            <a:lvl4pPr marL="525600" indent="-133200">
              <a:buFont typeface="Arial" pitchFamily="34" charset="0"/>
              <a:buChar char="•"/>
              <a:defRPr sz="1200"/>
            </a:lvl4pPr>
            <a:lvl5pPr marL="525600" indent="-133200">
              <a:buFont typeface="Arial" pitchFamily="34" charset="0"/>
              <a:buChar char="•"/>
              <a:defRPr sz="1200"/>
            </a:lvl5pPr>
            <a:lvl6pPr marL="525600" indent="-133200">
              <a:buFont typeface="Arial" pitchFamily="34" charset="0"/>
              <a:buChar char="•"/>
              <a:defRPr sz="1200"/>
            </a:lvl6pPr>
            <a:lvl7pPr marL="525600" indent="-133200">
              <a:buFont typeface="Arial" pitchFamily="34" charset="0"/>
              <a:buChar char="•"/>
              <a:defRPr sz="1200"/>
            </a:lvl7pPr>
            <a:lvl8pPr marL="525600" indent="-133200">
              <a:buFont typeface="Arial" pitchFamily="34" charset="0"/>
              <a:buChar char="•"/>
              <a:defRPr sz="1200"/>
            </a:lvl8pPr>
            <a:lvl9pPr marL="525600" indent="-133200">
              <a:buFont typeface="Arial" pitchFamily="34" charset="0"/>
              <a:buChar char="•"/>
              <a:defRPr sz="12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6" name="Footer Placeholder 5"/>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7" name="Slide Number Placeholder 6"/>
          <p:cNvSpPr>
            <a:spLocks noGrp="1"/>
          </p:cNvSpPr>
          <p:nvPr>
            <p:ph type="sldNum" sz="quarter" idx="12"/>
          </p:nvPr>
        </p:nvSpPr>
        <p:spPr/>
        <p:txBody>
          <a:bodyPr/>
          <a:lstStyle/>
          <a:p>
            <a:fld id="{DF28FB93-0A08-4E7D-8E63-9EFA29F1E093}" type="slidenum">
              <a:rPr lang="en-GB" smtClean="0"/>
              <a:pPr/>
              <a:t>‹#›</a:t>
            </a:fld>
            <a:endParaRPr lang="en-GB" dirty="0"/>
          </a:p>
        </p:txBody>
      </p:sp>
      <p:sp>
        <p:nvSpPr>
          <p:cNvPr id="9" name="Text Placeholder 14"/>
          <p:cNvSpPr>
            <a:spLocks noGrp="1"/>
          </p:cNvSpPr>
          <p:nvPr>
            <p:ph type="body" sz="quarter" idx="17" hasCustomPrompt="1"/>
          </p:nvPr>
        </p:nvSpPr>
        <p:spPr>
          <a:xfrm>
            <a:off x="4648200" y="4226650"/>
            <a:ext cx="4065589"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1"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Tree>
    <p:extLst>
      <p:ext uri="{BB962C8B-B14F-4D97-AF65-F5344CB8AC3E}">
        <p14:creationId xmlns:p14="http://schemas.microsoft.com/office/powerpoint/2010/main" val="1076179408"/>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GB"/>
          </a:p>
        </p:txBody>
      </p:sp>
      <p:sp>
        <p:nvSpPr>
          <p:cNvPr id="4" name="Footer Placeholder 3"/>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5" name="Slide Number Placeholder 4"/>
          <p:cNvSpPr>
            <a:spLocks noGrp="1"/>
          </p:cNvSpPr>
          <p:nvPr>
            <p:ph type="sldNum" sz="quarter" idx="12"/>
          </p:nvPr>
        </p:nvSpPr>
        <p:spPr/>
        <p:txBody>
          <a:bodyPr/>
          <a:lstStyle/>
          <a:p>
            <a:fld id="{DF28FB93-0A08-4E7D-8E63-9EFA29F1E093}" type="slidenum">
              <a:rPr lang="en-GB" smtClean="0"/>
              <a:pPr/>
              <a:t>‹#›</a:t>
            </a:fld>
            <a:endParaRPr lang="en-GB" dirty="0"/>
          </a:p>
        </p:txBody>
      </p:sp>
      <p:sp>
        <p:nvSpPr>
          <p:cNvPr id="6"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
        <p:nvSpPr>
          <p:cNvPr id="8" name="Picture Placeholder 6"/>
          <p:cNvSpPr>
            <a:spLocks noGrp="1"/>
          </p:cNvSpPr>
          <p:nvPr>
            <p:ph type="pic" sz="quarter" idx="14" hasCustomPrompt="1"/>
          </p:nvPr>
        </p:nvSpPr>
        <p:spPr>
          <a:xfrm>
            <a:off x="419100" y="1285875"/>
            <a:ext cx="8294689" cy="3089275"/>
          </a:xfrm>
        </p:spPr>
        <p:txBody>
          <a:bodyPr tIns="457200" bIns="0" anchor="t">
            <a:normAutofit/>
          </a:bodyPr>
          <a:lstStyle>
            <a:lvl1pPr algn="ctr">
              <a:spcBef>
                <a:spcPts val="0"/>
              </a:spcBef>
              <a:defRPr sz="1400"/>
            </a:lvl1pPr>
          </a:lstStyle>
          <a:p>
            <a:r>
              <a:rPr lang="en-US" dirty="0" smtClean="0"/>
              <a:t>To insert a Mindshare image, on the Mindshare tab of the ribbon,  click Mindshare Images.</a:t>
            </a:r>
            <a:br>
              <a:rPr lang="en-US" dirty="0" smtClean="0"/>
            </a:br>
            <a:r>
              <a:rPr lang="en-US" dirty="0" smtClean="0"/>
              <a:t>To insert an image from your files,  click the icon in the centre of the placeholder.</a:t>
            </a:r>
          </a:p>
          <a:p>
            <a:endParaRPr lang="en-GB" dirty="0"/>
          </a:p>
        </p:txBody>
      </p:sp>
      <p:sp>
        <p:nvSpPr>
          <p:cNvPr id="9" name="Text Placeholder 14"/>
          <p:cNvSpPr>
            <a:spLocks noGrp="1"/>
          </p:cNvSpPr>
          <p:nvPr>
            <p:ph type="body" sz="quarter" idx="17" hasCustomPrompt="1"/>
          </p:nvPr>
        </p:nvSpPr>
        <p:spPr>
          <a:xfrm>
            <a:off x="4648200" y="4226650"/>
            <a:ext cx="4065589"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Tree>
    <p:extLst>
      <p:ext uri="{BB962C8B-B14F-4D97-AF65-F5344CB8AC3E}">
        <p14:creationId xmlns:p14="http://schemas.microsoft.com/office/powerpoint/2010/main" val="934245287"/>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Pictures with Caption">
    <p:spTree>
      <p:nvGrpSpPr>
        <p:cNvPr id="1" name=""/>
        <p:cNvGrpSpPr/>
        <p:nvPr/>
      </p:nvGrpSpPr>
      <p:grpSpPr>
        <a:xfrm>
          <a:off x="0" y="0"/>
          <a:ext cx="0" cy="0"/>
          <a:chOff x="0" y="0"/>
          <a:chExt cx="0" cy="0"/>
        </a:xfrm>
      </p:grpSpPr>
      <p:pic>
        <p:nvPicPr>
          <p:cNvPr id="8" name="Picture 7" hidden="1"/>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152" y="648"/>
            <a:ext cx="9141696" cy="5142204"/>
          </a:xfrm>
          <a:prstGeom prst="rect">
            <a:avLst/>
          </a:prstGeom>
        </p:spPr>
      </p:pic>
      <p:sp>
        <p:nvSpPr>
          <p:cNvPr id="2" name="Title 1"/>
          <p:cNvSpPr>
            <a:spLocks noGrp="1"/>
          </p:cNvSpPr>
          <p:nvPr>
            <p:ph type="title"/>
          </p:nvPr>
        </p:nvSpPr>
        <p:spPr>
          <a:xfrm>
            <a:off x="419100" y="371475"/>
            <a:ext cx="8294689" cy="400051"/>
          </a:xfrm>
        </p:spPr>
        <p:txBody>
          <a:bodyPr vert="horz" lIns="0" tIns="0" rIns="0" bIns="0" rtlCol="0" anchor="b" anchorCtr="0">
            <a:noAutofit/>
          </a:bodyPr>
          <a:lstStyle>
            <a:lvl1pPr>
              <a:defRPr lang="en-GB" dirty="0"/>
            </a:lvl1pPr>
          </a:lstStyle>
          <a:p>
            <a:pPr lvl="0"/>
            <a:r>
              <a:rPr lang="en-GB" dirty="0" smtClean="0"/>
              <a:t>Click to edit Master title style</a:t>
            </a:r>
            <a:endParaRPr lang="en-GB" dirty="0"/>
          </a:p>
        </p:txBody>
      </p:sp>
      <p:sp>
        <p:nvSpPr>
          <p:cNvPr id="4" name="Text Placeholder 3"/>
          <p:cNvSpPr>
            <a:spLocks noGrp="1"/>
          </p:cNvSpPr>
          <p:nvPr>
            <p:ph type="body" sz="half" idx="2"/>
          </p:nvPr>
        </p:nvSpPr>
        <p:spPr>
          <a:xfrm>
            <a:off x="419100" y="1476375"/>
            <a:ext cx="3160800" cy="2898775"/>
          </a:xfrm>
        </p:spPr>
        <p:txBody>
          <a:bodyPr>
            <a:normAutofit/>
          </a:bodyPr>
          <a:lstStyle>
            <a:lvl1pPr marL="0" indent="0">
              <a:buNone/>
              <a:defRPr sz="1800" b="0"/>
            </a:lvl1pPr>
            <a:lvl2pPr marL="0" indent="0">
              <a:buNone/>
              <a:defRPr sz="1600"/>
            </a:lvl2pPr>
            <a:lvl3pPr marL="291600" indent="-133200">
              <a:buFont typeface="Arial" pitchFamily="34" charset="0"/>
              <a:buChar char="•"/>
              <a:defRPr sz="1400"/>
            </a:lvl3pPr>
            <a:lvl4pPr marL="525600" indent="-133200">
              <a:buFont typeface="Arial" pitchFamily="34" charset="0"/>
              <a:buChar char="•"/>
              <a:defRPr sz="1200"/>
            </a:lvl4pPr>
            <a:lvl5pPr marL="525600" indent="-133200">
              <a:buFont typeface="Arial" pitchFamily="34" charset="0"/>
              <a:buChar char="•"/>
              <a:defRPr sz="1200"/>
            </a:lvl5pPr>
            <a:lvl6pPr marL="525600" indent="-133200">
              <a:buFont typeface="Arial" pitchFamily="34" charset="0"/>
              <a:buChar char="•"/>
              <a:defRPr sz="1200"/>
            </a:lvl6pPr>
            <a:lvl7pPr marL="525600" indent="-133200">
              <a:buFont typeface="Arial" pitchFamily="34" charset="0"/>
              <a:buChar char="•"/>
              <a:defRPr sz="1200"/>
            </a:lvl7pPr>
            <a:lvl8pPr marL="525600" indent="-133200">
              <a:buFont typeface="Arial" pitchFamily="34" charset="0"/>
              <a:buChar char="•"/>
              <a:defRPr sz="1200"/>
            </a:lvl8pPr>
            <a:lvl9pPr marL="525600" indent="-133200">
              <a:buFont typeface="Arial" pitchFamily="34" charset="0"/>
              <a:buChar char="•"/>
              <a:defRPr sz="12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6" name="Footer Placeholder 5"/>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7" name="Slide Number Placeholder 6"/>
          <p:cNvSpPr>
            <a:spLocks noGrp="1"/>
          </p:cNvSpPr>
          <p:nvPr>
            <p:ph type="sldNum" sz="quarter" idx="12"/>
          </p:nvPr>
        </p:nvSpPr>
        <p:spPr/>
        <p:txBody>
          <a:bodyPr/>
          <a:lstStyle/>
          <a:p>
            <a:fld id="{DF28FB93-0A08-4E7D-8E63-9EFA29F1E093}" type="slidenum">
              <a:rPr lang="en-GB" smtClean="0"/>
              <a:pPr/>
              <a:t>‹#›</a:t>
            </a:fld>
            <a:endParaRPr lang="en-GB" dirty="0"/>
          </a:p>
        </p:txBody>
      </p:sp>
      <p:sp>
        <p:nvSpPr>
          <p:cNvPr id="11" name="Picture Placeholder 2"/>
          <p:cNvSpPr>
            <a:spLocks noGrp="1"/>
          </p:cNvSpPr>
          <p:nvPr>
            <p:ph type="pic" idx="18" hasCustomPrompt="1"/>
          </p:nvPr>
        </p:nvSpPr>
        <p:spPr>
          <a:xfrm>
            <a:off x="4648200" y="1285875"/>
            <a:ext cx="4065589" cy="1485000"/>
          </a:xfrm>
        </p:spPr>
        <p:txBody>
          <a:bodyPr tIns="72000">
            <a:normAutofit/>
          </a:bodyPr>
          <a:lstStyle>
            <a:lvl1pPr marL="0" indent="0" algn="ctr">
              <a:buNone/>
              <a:defRPr sz="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To insert a Mindshare image, select the placeholder to fill and then, on the Mindshare tab of the ribbon, click Mindshare Images. To insert an image from your files,  click the icon in the centre of the placeholder.</a:t>
            </a:r>
          </a:p>
          <a:p>
            <a:endParaRPr lang="en-GB" dirty="0"/>
          </a:p>
        </p:txBody>
      </p:sp>
      <p:sp>
        <p:nvSpPr>
          <p:cNvPr id="12" name="Picture Placeholder 2"/>
          <p:cNvSpPr>
            <a:spLocks noGrp="1"/>
          </p:cNvSpPr>
          <p:nvPr>
            <p:ph type="pic" idx="19"/>
          </p:nvPr>
        </p:nvSpPr>
        <p:spPr>
          <a:xfrm>
            <a:off x="4648200" y="2890150"/>
            <a:ext cx="4065589" cy="1485000"/>
          </a:xfrm>
        </p:spPr>
        <p:txBody>
          <a:bodyPr tIns="228600">
            <a:normAutofit/>
          </a:bodyPr>
          <a:lstStyle>
            <a:lvl1pPr marL="0" indent="0" algn="ctr">
              <a:buNone/>
              <a:defRPr sz="1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smtClean="0"/>
              <a:t>Click icon to add picture</a:t>
            </a:r>
            <a:endParaRPr lang="en-GB" dirty="0"/>
          </a:p>
        </p:txBody>
      </p:sp>
      <p:sp>
        <p:nvSpPr>
          <p:cNvPr id="9" name="Text Placeholder 14"/>
          <p:cNvSpPr>
            <a:spLocks noGrp="1"/>
          </p:cNvSpPr>
          <p:nvPr>
            <p:ph type="body" sz="quarter" idx="17" hasCustomPrompt="1"/>
          </p:nvPr>
        </p:nvSpPr>
        <p:spPr>
          <a:xfrm>
            <a:off x="4648200" y="4226650"/>
            <a:ext cx="4065589"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3" name="Text Placeholder 14"/>
          <p:cNvSpPr>
            <a:spLocks noGrp="1"/>
          </p:cNvSpPr>
          <p:nvPr>
            <p:ph type="body" sz="quarter" idx="20" hasCustomPrompt="1"/>
          </p:nvPr>
        </p:nvSpPr>
        <p:spPr>
          <a:xfrm>
            <a:off x="4648200" y="2622375"/>
            <a:ext cx="4065589"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4"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Tree>
    <p:extLst>
      <p:ext uri="{BB962C8B-B14F-4D97-AF65-F5344CB8AC3E}">
        <p14:creationId xmlns:p14="http://schemas.microsoft.com/office/powerpoint/2010/main" val="2554747950"/>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2 Pictures">
    <p:spTree>
      <p:nvGrpSpPr>
        <p:cNvPr id="1" name=""/>
        <p:cNvGrpSpPr/>
        <p:nvPr/>
      </p:nvGrpSpPr>
      <p:grpSpPr>
        <a:xfrm>
          <a:off x="0" y="0"/>
          <a:ext cx="0" cy="0"/>
          <a:chOff x="0" y="0"/>
          <a:chExt cx="0" cy="0"/>
        </a:xfrm>
      </p:grpSpPr>
      <p:sp>
        <p:nvSpPr>
          <p:cNvPr id="2" name="Title 1"/>
          <p:cNvSpPr>
            <a:spLocks noGrp="1"/>
          </p:cNvSpPr>
          <p:nvPr>
            <p:ph type="title"/>
          </p:nvPr>
        </p:nvSpPr>
        <p:spPr>
          <a:xfrm>
            <a:off x="419100" y="371475"/>
            <a:ext cx="8294688" cy="400051"/>
          </a:xfrm>
        </p:spPr>
        <p:txBody>
          <a:bodyPr vert="horz" lIns="0" tIns="0" rIns="0" bIns="0" rtlCol="0" anchor="b" anchorCtr="0">
            <a:noAutofit/>
          </a:bodyPr>
          <a:lstStyle>
            <a:lvl1pPr>
              <a:defRPr lang="en-GB"/>
            </a:lvl1pPr>
          </a:lstStyle>
          <a:p>
            <a:pPr lvl="0"/>
            <a:r>
              <a:rPr lang="en-GB" smtClean="0"/>
              <a:t>Click to edit Master title style</a:t>
            </a:r>
            <a:endParaRPr lang="en-GB"/>
          </a:p>
        </p:txBody>
      </p:sp>
      <p:sp>
        <p:nvSpPr>
          <p:cNvPr id="4" name="Footer Placeholder 3"/>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5" name="Slide Number Placeholder 4"/>
          <p:cNvSpPr>
            <a:spLocks noGrp="1"/>
          </p:cNvSpPr>
          <p:nvPr>
            <p:ph type="sldNum" sz="quarter" idx="12"/>
          </p:nvPr>
        </p:nvSpPr>
        <p:spPr/>
        <p:txBody>
          <a:bodyPr/>
          <a:lstStyle/>
          <a:p>
            <a:fld id="{DF28FB93-0A08-4E7D-8E63-9EFA29F1E093}" type="slidenum">
              <a:rPr lang="en-GB" smtClean="0"/>
              <a:pPr/>
              <a:t>‹#›</a:t>
            </a:fld>
            <a:endParaRPr lang="en-GB" dirty="0"/>
          </a:p>
        </p:txBody>
      </p:sp>
      <p:sp>
        <p:nvSpPr>
          <p:cNvPr id="6"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
        <p:nvSpPr>
          <p:cNvPr id="8" name="Picture Placeholder 6"/>
          <p:cNvSpPr>
            <a:spLocks noGrp="1"/>
          </p:cNvSpPr>
          <p:nvPr>
            <p:ph type="pic" sz="quarter" idx="14" hasCustomPrompt="1"/>
          </p:nvPr>
        </p:nvSpPr>
        <p:spPr>
          <a:xfrm>
            <a:off x="419100" y="1285875"/>
            <a:ext cx="3906000" cy="3089275"/>
          </a:xfrm>
        </p:spPr>
        <p:txBody>
          <a:bodyPr tIns="457200" bIns="0" anchor="t">
            <a:normAutofit/>
          </a:bodyPr>
          <a:lstStyle>
            <a:lvl1pPr algn="ctr">
              <a:spcBef>
                <a:spcPts val="0"/>
              </a:spcBef>
              <a:defRPr sz="1100"/>
            </a:lvl1pPr>
          </a:lstStyle>
          <a:p>
            <a:r>
              <a:rPr lang="en-US" dirty="0" smtClean="0"/>
              <a:t>To insert a Mindshare image, select the placeholder to fill and then, on the Mindshare tab of the ribbon, click Mindshare Images. To insert an image from your files,  click the icon in the centre of the placeholder.</a:t>
            </a:r>
          </a:p>
          <a:p>
            <a:endParaRPr lang="en-GB" dirty="0"/>
          </a:p>
        </p:txBody>
      </p:sp>
      <p:sp>
        <p:nvSpPr>
          <p:cNvPr id="10" name="Picture Placeholder 6"/>
          <p:cNvSpPr>
            <a:spLocks noGrp="1"/>
          </p:cNvSpPr>
          <p:nvPr>
            <p:ph type="pic" sz="quarter" idx="18"/>
          </p:nvPr>
        </p:nvSpPr>
        <p:spPr>
          <a:xfrm>
            <a:off x="4648200" y="1285875"/>
            <a:ext cx="4065589" cy="3089275"/>
          </a:xfrm>
        </p:spPr>
        <p:txBody>
          <a:bodyPr tIns="457200" bIns="0" anchor="t">
            <a:normAutofit/>
          </a:bodyPr>
          <a:lstStyle>
            <a:lvl1pPr algn="ctr">
              <a:spcBef>
                <a:spcPts val="0"/>
              </a:spcBef>
              <a:defRPr sz="1400"/>
            </a:lvl1pPr>
          </a:lstStyle>
          <a:p>
            <a:r>
              <a:rPr lang="en-GB" dirty="0" smtClean="0"/>
              <a:t>Click icon to add picture</a:t>
            </a:r>
            <a:endParaRPr lang="en-GB" dirty="0"/>
          </a:p>
        </p:txBody>
      </p:sp>
      <p:sp>
        <p:nvSpPr>
          <p:cNvPr id="9" name="Text Placeholder 14"/>
          <p:cNvSpPr>
            <a:spLocks noGrp="1"/>
          </p:cNvSpPr>
          <p:nvPr>
            <p:ph type="body" sz="quarter" idx="17" hasCustomPrompt="1"/>
          </p:nvPr>
        </p:nvSpPr>
        <p:spPr>
          <a:xfrm>
            <a:off x="4648200" y="4226650"/>
            <a:ext cx="4065589"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1" name="Text Placeholder 14"/>
          <p:cNvSpPr>
            <a:spLocks noGrp="1"/>
          </p:cNvSpPr>
          <p:nvPr>
            <p:ph type="body" sz="quarter" idx="19" hasCustomPrompt="1"/>
          </p:nvPr>
        </p:nvSpPr>
        <p:spPr>
          <a:xfrm>
            <a:off x="419100" y="4226650"/>
            <a:ext cx="3906000"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Tree>
    <p:extLst>
      <p:ext uri="{BB962C8B-B14F-4D97-AF65-F5344CB8AC3E}">
        <p14:creationId xmlns:p14="http://schemas.microsoft.com/office/powerpoint/2010/main" val="1369168543"/>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Pictures with Caption">
    <p:spTree>
      <p:nvGrpSpPr>
        <p:cNvPr id="1" name=""/>
        <p:cNvGrpSpPr/>
        <p:nvPr/>
      </p:nvGrpSpPr>
      <p:grpSpPr>
        <a:xfrm>
          <a:off x="0" y="0"/>
          <a:ext cx="0" cy="0"/>
          <a:chOff x="0" y="0"/>
          <a:chExt cx="0" cy="0"/>
        </a:xfrm>
      </p:grpSpPr>
      <p:pic>
        <p:nvPicPr>
          <p:cNvPr id="8" name="Picture 7" hidden="1"/>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152" y="648"/>
            <a:ext cx="9141696" cy="5142204"/>
          </a:xfrm>
          <a:prstGeom prst="rect">
            <a:avLst/>
          </a:prstGeom>
        </p:spPr>
      </p:pic>
      <p:sp>
        <p:nvSpPr>
          <p:cNvPr id="2" name="Title 1"/>
          <p:cNvSpPr>
            <a:spLocks noGrp="1"/>
          </p:cNvSpPr>
          <p:nvPr>
            <p:ph type="title"/>
          </p:nvPr>
        </p:nvSpPr>
        <p:spPr>
          <a:xfrm>
            <a:off x="419100" y="371475"/>
            <a:ext cx="8294689" cy="400051"/>
          </a:xfrm>
        </p:spPr>
        <p:txBody>
          <a:bodyPr vert="horz" lIns="0" tIns="0" rIns="0" bIns="0" rtlCol="0" anchor="b" anchorCtr="0">
            <a:noAutofit/>
          </a:bodyPr>
          <a:lstStyle>
            <a:lvl1pPr>
              <a:defRPr lang="en-GB" dirty="0"/>
            </a:lvl1pPr>
          </a:lstStyle>
          <a:p>
            <a:pPr lvl="0"/>
            <a:r>
              <a:rPr lang="en-GB" dirty="0" smtClean="0"/>
              <a:t>Click to edit Master title style</a:t>
            </a:r>
            <a:endParaRPr lang="en-GB" dirty="0"/>
          </a:p>
        </p:txBody>
      </p:sp>
      <p:sp>
        <p:nvSpPr>
          <p:cNvPr id="4" name="Text Placeholder 3"/>
          <p:cNvSpPr>
            <a:spLocks noGrp="1"/>
          </p:cNvSpPr>
          <p:nvPr>
            <p:ph type="body" sz="half" idx="2"/>
          </p:nvPr>
        </p:nvSpPr>
        <p:spPr>
          <a:xfrm>
            <a:off x="419100" y="1476375"/>
            <a:ext cx="3160800" cy="2898775"/>
          </a:xfrm>
        </p:spPr>
        <p:txBody>
          <a:bodyPr>
            <a:normAutofit/>
          </a:bodyPr>
          <a:lstStyle>
            <a:lvl1pPr marL="0" indent="0">
              <a:buNone/>
              <a:defRPr sz="1800" b="0"/>
            </a:lvl1pPr>
            <a:lvl2pPr marL="0" indent="0">
              <a:buNone/>
              <a:defRPr sz="1600"/>
            </a:lvl2pPr>
            <a:lvl3pPr marL="291600" indent="-133200">
              <a:buFont typeface="Arial" pitchFamily="34" charset="0"/>
              <a:buChar char="•"/>
              <a:defRPr sz="1400"/>
            </a:lvl3pPr>
            <a:lvl4pPr marL="525600" indent="-133200">
              <a:buFont typeface="Arial" pitchFamily="34" charset="0"/>
              <a:buChar char="•"/>
              <a:defRPr sz="1200"/>
            </a:lvl4pPr>
            <a:lvl5pPr marL="525600" indent="-133200">
              <a:buFont typeface="Arial" pitchFamily="34" charset="0"/>
              <a:buChar char="•"/>
              <a:defRPr sz="1200"/>
            </a:lvl5pPr>
            <a:lvl6pPr marL="525600" indent="-133200">
              <a:buFont typeface="Arial" pitchFamily="34" charset="0"/>
              <a:buChar char="•"/>
              <a:defRPr sz="1200"/>
            </a:lvl6pPr>
            <a:lvl7pPr marL="525600" indent="-133200">
              <a:buFont typeface="Arial" pitchFamily="34" charset="0"/>
              <a:buChar char="•"/>
              <a:defRPr sz="1200"/>
            </a:lvl7pPr>
            <a:lvl8pPr marL="525600" indent="-133200">
              <a:buFont typeface="Arial" pitchFamily="34" charset="0"/>
              <a:buChar char="•"/>
              <a:defRPr sz="1200"/>
            </a:lvl8pPr>
            <a:lvl9pPr marL="525600" indent="-133200">
              <a:buFont typeface="Arial" pitchFamily="34" charset="0"/>
              <a:buChar char="•"/>
              <a:defRPr sz="12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6" name="Footer Placeholder 5"/>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7" name="Slide Number Placeholder 6"/>
          <p:cNvSpPr>
            <a:spLocks noGrp="1"/>
          </p:cNvSpPr>
          <p:nvPr>
            <p:ph type="sldNum" sz="quarter" idx="12"/>
          </p:nvPr>
        </p:nvSpPr>
        <p:spPr/>
        <p:txBody>
          <a:bodyPr/>
          <a:lstStyle/>
          <a:p>
            <a:fld id="{DF28FB93-0A08-4E7D-8E63-9EFA29F1E093}" type="slidenum">
              <a:rPr lang="en-GB" smtClean="0"/>
              <a:pPr/>
              <a:t>‹#›</a:t>
            </a:fld>
            <a:endParaRPr lang="en-GB" dirty="0"/>
          </a:p>
        </p:txBody>
      </p:sp>
      <p:sp>
        <p:nvSpPr>
          <p:cNvPr id="11" name="Picture Placeholder 2"/>
          <p:cNvSpPr>
            <a:spLocks noGrp="1"/>
          </p:cNvSpPr>
          <p:nvPr>
            <p:ph type="pic" idx="18"/>
          </p:nvPr>
        </p:nvSpPr>
        <p:spPr>
          <a:xfrm>
            <a:off x="4648200" y="1286775"/>
            <a:ext cx="1984200" cy="1485000"/>
          </a:xfrm>
        </p:spPr>
        <p:txBody>
          <a:bodyPr tIns="228600">
            <a:normAutofit/>
          </a:bodyP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smtClean="0"/>
              <a:t>Click icon to add picture</a:t>
            </a:r>
            <a:endParaRPr lang="en-GB" dirty="0"/>
          </a:p>
        </p:txBody>
      </p:sp>
      <p:sp>
        <p:nvSpPr>
          <p:cNvPr id="12" name="Picture Placeholder 2"/>
          <p:cNvSpPr>
            <a:spLocks noGrp="1"/>
          </p:cNvSpPr>
          <p:nvPr>
            <p:ph type="pic" idx="19" hasCustomPrompt="1"/>
          </p:nvPr>
        </p:nvSpPr>
        <p:spPr>
          <a:xfrm>
            <a:off x="4648200" y="2890150"/>
            <a:ext cx="4065589" cy="1485000"/>
          </a:xfrm>
        </p:spPr>
        <p:txBody>
          <a:bodyPr tIns="72000">
            <a:normAutofit/>
          </a:bodyPr>
          <a:lstStyle>
            <a:lvl1pPr marL="0" indent="0" algn="ctr">
              <a:buNone/>
              <a:defRPr sz="9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To insert a Mindshare image, select the placeholder to fill and then, on the Mindshare tab of the ribbon, click Mindshare Images. To insert an image from your files,  click the icon in the centre of the placeholder.</a:t>
            </a:r>
          </a:p>
          <a:p>
            <a:endParaRPr lang="en-GB" dirty="0"/>
          </a:p>
        </p:txBody>
      </p:sp>
      <p:sp>
        <p:nvSpPr>
          <p:cNvPr id="15" name="Picture Placeholder 2"/>
          <p:cNvSpPr>
            <a:spLocks noGrp="1"/>
          </p:cNvSpPr>
          <p:nvPr>
            <p:ph type="pic" idx="21"/>
          </p:nvPr>
        </p:nvSpPr>
        <p:spPr>
          <a:xfrm>
            <a:off x="6729589" y="1286775"/>
            <a:ext cx="1984200" cy="1485000"/>
          </a:xfrm>
        </p:spPr>
        <p:txBody>
          <a:bodyPr tIns="228600">
            <a:normAutofit/>
          </a:bodyP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smtClean="0"/>
              <a:t>Click icon to add picture</a:t>
            </a:r>
            <a:endParaRPr lang="en-GB" dirty="0"/>
          </a:p>
        </p:txBody>
      </p:sp>
      <p:sp>
        <p:nvSpPr>
          <p:cNvPr id="9" name="Text Placeholder 14"/>
          <p:cNvSpPr>
            <a:spLocks noGrp="1"/>
          </p:cNvSpPr>
          <p:nvPr>
            <p:ph type="body" sz="quarter" idx="17" hasCustomPrompt="1"/>
          </p:nvPr>
        </p:nvSpPr>
        <p:spPr>
          <a:xfrm>
            <a:off x="4648200" y="4226650"/>
            <a:ext cx="4065589"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3" name="Text Placeholder 14"/>
          <p:cNvSpPr>
            <a:spLocks noGrp="1"/>
          </p:cNvSpPr>
          <p:nvPr>
            <p:ph type="body" sz="quarter" idx="20" hasCustomPrompt="1"/>
          </p:nvPr>
        </p:nvSpPr>
        <p:spPr>
          <a:xfrm>
            <a:off x="4648200" y="2623275"/>
            <a:ext cx="1984200"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6" name="Text Placeholder 14"/>
          <p:cNvSpPr>
            <a:spLocks noGrp="1"/>
          </p:cNvSpPr>
          <p:nvPr>
            <p:ph type="body" sz="quarter" idx="22" hasCustomPrompt="1"/>
          </p:nvPr>
        </p:nvSpPr>
        <p:spPr>
          <a:xfrm>
            <a:off x="6729589" y="2623275"/>
            <a:ext cx="1984200"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4"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Tree>
    <p:extLst>
      <p:ext uri="{BB962C8B-B14F-4D97-AF65-F5344CB8AC3E}">
        <p14:creationId xmlns:p14="http://schemas.microsoft.com/office/powerpoint/2010/main" val="2870775276"/>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3 Pictures">
    <p:spTree>
      <p:nvGrpSpPr>
        <p:cNvPr id="1" name=""/>
        <p:cNvGrpSpPr/>
        <p:nvPr/>
      </p:nvGrpSpPr>
      <p:grpSpPr>
        <a:xfrm>
          <a:off x="0" y="0"/>
          <a:ext cx="0" cy="0"/>
          <a:chOff x="0" y="0"/>
          <a:chExt cx="0" cy="0"/>
        </a:xfrm>
      </p:grpSpPr>
      <p:sp>
        <p:nvSpPr>
          <p:cNvPr id="2" name="Title 1"/>
          <p:cNvSpPr>
            <a:spLocks noGrp="1"/>
          </p:cNvSpPr>
          <p:nvPr>
            <p:ph type="title"/>
          </p:nvPr>
        </p:nvSpPr>
        <p:spPr>
          <a:xfrm>
            <a:off x="419100" y="371475"/>
            <a:ext cx="8294688" cy="400051"/>
          </a:xfrm>
        </p:spPr>
        <p:txBody>
          <a:bodyPr/>
          <a:lstStyle/>
          <a:p>
            <a:r>
              <a:rPr lang="en-GB" dirty="0" smtClean="0"/>
              <a:t>Click to edit Master title style</a:t>
            </a:r>
            <a:endParaRPr lang="en-GB" dirty="0"/>
          </a:p>
        </p:txBody>
      </p:sp>
      <p:sp>
        <p:nvSpPr>
          <p:cNvPr id="4" name="Footer Placeholder 3"/>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5" name="Slide Number Placeholder 4"/>
          <p:cNvSpPr>
            <a:spLocks noGrp="1"/>
          </p:cNvSpPr>
          <p:nvPr>
            <p:ph type="sldNum" sz="quarter" idx="12"/>
          </p:nvPr>
        </p:nvSpPr>
        <p:spPr/>
        <p:txBody>
          <a:bodyPr/>
          <a:lstStyle/>
          <a:p>
            <a:fld id="{DF28FB93-0A08-4E7D-8E63-9EFA29F1E093}" type="slidenum">
              <a:rPr lang="en-GB" smtClean="0"/>
              <a:pPr/>
              <a:t>‹#›</a:t>
            </a:fld>
            <a:endParaRPr lang="en-GB" dirty="0"/>
          </a:p>
        </p:txBody>
      </p:sp>
      <p:sp>
        <p:nvSpPr>
          <p:cNvPr id="6"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
        <p:nvSpPr>
          <p:cNvPr id="8" name="Picture Placeholder 6"/>
          <p:cNvSpPr>
            <a:spLocks noGrp="1"/>
          </p:cNvSpPr>
          <p:nvPr>
            <p:ph type="pic" sz="quarter" idx="14" hasCustomPrompt="1"/>
          </p:nvPr>
        </p:nvSpPr>
        <p:spPr>
          <a:xfrm>
            <a:off x="419099" y="1285875"/>
            <a:ext cx="2651760" cy="3089275"/>
          </a:xfrm>
        </p:spPr>
        <p:txBody>
          <a:bodyPr tIns="108000" bIns="0" anchor="t">
            <a:normAutofit/>
          </a:bodyPr>
          <a:lstStyle>
            <a:lvl1pPr algn="ctr">
              <a:spcBef>
                <a:spcPts val="0"/>
              </a:spcBef>
              <a:defRPr sz="1000"/>
            </a:lvl1pPr>
          </a:lstStyle>
          <a:p>
            <a:r>
              <a:rPr lang="en-US" dirty="0" smtClean="0"/>
              <a:t>To insert a Mindshare image, select the placeholder to fill and then, on the Mindshare tab of the ribbon, click Mindshare Images. To insert an image from your files,  click the icon in the centre of the placeholder.</a:t>
            </a:r>
          </a:p>
          <a:p>
            <a:endParaRPr lang="en-GB" dirty="0"/>
          </a:p>
        </p:txBody>
      </p:sp>
      <p:sp>
        <p:nvSpPr>
          <p:cNvPr id="12" name="Picture Placeholder 6"/>
          <p:cNvSpPr>
            <a:spLocks noGrp="1"/>
          </p:cNvSpPr>
          <p:nvPr>
            <p:ph type="pic" sz="quarter" idx="20"/>
          </p:nvPr>
        </p:nvSpPr>
        <p:spPr>
          <a:xfrm>
            <a:off x="3240563" y="1285875"/>
            <a:ext cx="2651760" cy="3089275"/>
          </a:xfrm>
        </p:spPr>
        <p:txBody>
          <a:bodyPr tIns="457200" bIns="0" anchor="t">
            <a:normAutofit/>
          </a:bodyPr>
          <a:lstStyle>
            <a:lvl1pPr algn="ctr">
              <a:spcBef>
                <a:spcPts val="0"/>
              </a:spcBef>
              <a:defRPr sz="1400"/>
            </a:lvl1pPr>
          </a:lstStyle>
          <a:p>
            <a:r>
              <a:rPr lang="en-GB" dirty="0" smtClean="0"/>
              <a:t>Click icon to add picture</a:t>
            </a:r>
            <a:endParaRPr lang="en-GB" dirty="0"/>
          </a:p>
        </p:txBody>
      </p:sp>
      <p:sp>
        <p:nvSpPr>
          <p:cNvPr id="13" name="Picture Placeholder 6"/>
          <p:cNvSpPr>
            <a:spLocks noGrp="1"/>
          </p:cNvSpPr>
          <p:nvPr>
            <p:ph type="pic" sz="quarter" idx="21"/>
          </p:nvPr>
        </p:nvSpPr>
        <p:spPr>
          <a:xfrm>
            <a:off x="6062028" y="1285875"/>
            <a:ext cx="2651760" cy="3089275"/>
          </a:xfrm>
        </p:spPr>
        <p:txBody>
          <a:bodyPr tIns="457200" bIns="0" anchor="t">
            <a:normAutofit/>
          </a:bodyPr>
          <a:lstStyle>
            <a:lvl1pPr algn="ctr">
              <a:spcBef>
                <a:spcPts val="0"/>
              </a:spcBef>
              <a:defRPr sz="1400"/>
            </a:lvl1pPr>
          </a:lstStyle>
          <a:p>
            <a:r>
              <a:rPr lang="en-GB" dirty="0" smtClean="0"/>
              <a:t>Click icon to add picture</a:t>
            </a:r>
            <a:endParaRPr lang="en-GB" dirty="0"/>
          </a:p>
        </p:txBody>
      </p:sp>
      <p:sp>
        <p:nvSpPr>
          <p:cNvPr id="9" name="Text Placeholder 14"/>
          <p:cNvSpPr>
            <a:spLocks noGrp="1"/>
          </p:cNvSpPr>
          <p:nvPr>
            <p:ph type="body" sz="quarter" idx="17" hasCustomPrompt="1"/>
          </p:nvPr>
        </p:nvSpPr>
        <p:spPr>
          <a:xfrm>
            <a:off x="6062028" y="4226650"/>
            <a:ext cx="2651760"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4" name="Text Placeholder 14"/>
          <p:cNvSpPr>
            <a:spLocks noGrp="1"/>
          </p:cNvSpPr>
          <p:nvPr>
            <p:ph type="body" sz="quarter" idx="22" hasCustomPrompt="1"/>
          </p:nvPr>
        </p:nvSpPr>
        <p:spPr>
          <a:xfrm>
            <a:off x="3240563" y="4226650"/>
            <a:ext cx="2651760"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1" name="Text Placeholder 14"/>
          <p:cNvSpPr>
            <a:spLocks noGrp="1"/>
          </p:cNvSpPr>
          <p:nvPr>
            <p:ph type="body" sz="quarter" idx="19" hasCustomPrompt="1"/>
          </p:nvPr>
        </p:nvSpPr>
        <p:spPr>
          <a:xfrm>
            <a:off x="419100" y="4226650"/>
            <a:ext cx="2651760"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Tree>
    <p:extLst>
      <p:ext uri="{BB962C8B-B14F-4D97-AF65-F5344CB8AC3E}">
        <p14:creationId xmlns:p14="http://schemas.microsoft.com/office/powerpoint/2010/main" val="2845967707"/>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Pictures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19100" y="371475"/>
            <a:ext cx="8294689" cy="400051"/>
          </a:xfrm>
        </p:spPr>
        <p:txBody>
          <a:bodyPr vert="horz" lIns="0" tIns="0" rIns="0" bIns="0" rtlCol="0" anchor="b" anchorCtr="0">
            <a:noAutofit/>
          </a:bodyPr>
          <a:lstStyle>
            <a:lvl1pPr>
              <a:defRPr lang="en-GB"/>
            </a:lvl1pPr>
          </a:lstStyle>
          <a:p>
            <a:pPr lvl="0"/>
            <a:r>
              <a:rPr lang="en-GB" dirty="0" smtClean="0"/>
              <a:t>Click to edit Master title style</a:t>
            </a:r>
            <a:endParaRPr lang="en-GB" dirty="0"/>
          </a:p>
        </p:txBody>
      </p:sp>
      <p:sp>
        <p:nvSpPr>
          <p:cNvPr id="4" name="Text Placeholder 3"/>
          <p:cNvSpPr>
            <a:spLocks noGrp="1"/>
          </p:cNvSpPr>
          <p:nvPr>
            <p:ph type="body" sz="half" idx="2"/>
          </p:nvPr>
        </p:nvSpPr>
        <p:spPr>
          <a:xfrm>
            <a:off x="419100" y="1476375"/>
            <a:ext cx="3160800" cy="2898775"/>
          </a:xfrm>
        </p:spPr>
        <p:txBody>
          <a:bodyPr>
            <a:normAutofit/>
          </a:bodyPr>
          <a:lstStyle>
            <a:lvl1pPr marL="0" indent="0">
              <a:buNone/>
              <a:defRPr sz="1800" b="0"/>
            </a:lvl1pPr>
            <a:lvl2pPr marL="0" indent="0">
              <a:buNone/>
              <a:defRPr sz="1600"/>
            </a:lvl2pPr>
            <a:lvl3pPr marL="291600" indent="-133200">
              <a:buFont typeface="Arial" pitchFamily="34" charset="0"/>
              <a:buChar char="•"/>
              <a:defRPr sz="1400"/>
            </a:lvl3pPr>
            <a:lvl4pPr marL="525600" indent="-133200">
              <a:buFont typeface="Arial" pitchFamily="34" charset="0"/>
              <a:buChar char="•"/>
              <a:defRPr sz="1200"/>
            </a:lvl4pPr>
            <a:lvl5pPr marL="525600" indent="-133200">
              <a:buFont typeface="Arial" pitchFamily="34" charset="0"/>
              <a:buChar char="•"/>
              <a:defRPr sz="1200"/>
            </a:lvl5pPr>
            <a:lvl6pPr marL="525600" indent="-133200">
              <a:buFont typeface="Arial" pitchFamily="34" charset="0"/>
              <a:buChar char="•"/>
              <a:defRPr sz="1200"/>
            </a:lvl6pPr>
            <a:lvl7pPr marL="525600" indent="-133200">
              <a:buFont typeface="Arial" pitchFamily="34" charset="0"/>
              <a:buChar char="•"/>
              <a:defRPr sz="1200"/>
            </a:lvl7pPr>
            <a:lvl8pPr marL="525600" indent="-133200">
              <a:buFont typeface="Arial" pitchFamily="34" charset="0"/>
              <a:buChar char="•"/>
              <a:defRPr sz="1200"/>
            </a:lvl8pPr>
            <a:lvl9pPr marL="525600" indent="-133200">
              <a:buFont typeface="Arial" pitchFamily="34" charset="0"/>
              <a:buChar char="•"/>
              <a:defRPr sz="12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6" name="Footer Placeholder 5"/>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7" name="Slide Number Placeholder 6"/>
          <p:cNvSpPr>
            <a:spLocks noGrp="1"/>
          </p:cNvSpPr>
          <p:nvPr>
            <p:ph type="sldNum" sz="quarter" idx="12"/>
          </p:nvPr>
        </p:nvSpPr>
        <p:spPr/>
        <p:txBody>
          <a:bodyPr/>
          <a:lstStyle/>
          <a:p>
            <a:fld id="{DF28FB93-0A08-4E7D-8E63-9EFA29F1E093}" type="slidenum">
              <a:rPr lang="en-GB" smtClean="0"/>
              <a:pPr/>
              <a:t>‹#›</a:t>
            </a:fld>
            <a:endParaRPr lang="en-GB" dirty="0"/>
          </a:p>
        </p:txBody>
      </p:sp>
      <p:sp>
        <p:nvSpPr>
          <p:cNvPr id="11" name="Picture Placeholder 2"/>
          <p:cNvSpPr>
            <a:spLocks noGrp="1"/>
          </p:cNvSpPr>
          <p:nvPr>
            <p:ph type="pic" idx="18" hasCustomPrompt="1"/>
          </p:nvPr>
        </p:nvSpPr>
        <p:spPr>
          <a:xfrm>
            <a:off x="4648200" y="1286775"/>
            <a:ext cx="1984200" cy="1485000"/>
          </a:xfrm>
        </p:spPr>
        <p:txBody>
          <a:bodyPr tIns="36000">
            <a:normAutofit/>
          </a:bodyPr>
          <a:lstStyle>
            <a:lvl1pPr marL="0" indent="0" algn="ctr">
              <a:buNone/>
              <a:defRPr sz="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To insert a Mindshare image, select the placeholder to fill and then, on the Mindshare tab of the ribbon, click Mindshare Images. To insert an image from your files,  click the icon in the centre of the placeholder.</a:t>
            </a:r>
          </a:p>
          <a:p>
            <a:endParaRPr lang="en-GB" dirty="0"/>
          </a:p>
        </p:txBody>
      </p:sp>
      <p:sp>
        <p:nvSpPr>
          <p:cNvPr id="15" name="Picture Placeholder 2"/>
          <p:cNvSpPr>
            <a:spLocks noGrp="1"/>
          </p:cNvSpPr>
          <p:nvPr>
            <p:ph type="pic" idx="21"/>
          </p:nvPr>
        </p:nvSpPr>
        <p:spPr>
          <a:xfrm>
            <a:off x="6729589" y="1286775"/>
            <a:ext cx="1984200" cy="1485000"/>
          </a:xfrm>
        </p:spPr>
        <p:txBody>
          <a:bodyPr tIns="228600">
            <a:normAutofit/>
          </a:bodyP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smtClean="0"/>
              <a:t>Click icon to add picture</a:t>
            </a:r>
            <a:endParaRPr lang="en-GB" dirty="0"/>
          </a:p>
        </p:txBody>
      </p:sp>
      <p:sp>
        <p:nvSpPr>
          <p:cNvPr id="13" name="Text Placeholder 14"/>
          <p:cNvSpPr>
            <a:spLocks noGrp="1"/>
          </p:cNvSpPr>
          <p:nvPr>
            <p:ph type="body" sz="quarter" idx="20" hasCustomPrompt="1"/>
          </p:nvPr>
        </p:nvSpPr>
        <p:spPr>
          <a:xfrm>
            <a:off x="4648200" y="2623275"/>
            <a:ext cx="1984200"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6" name="Text Placeholder 14"/>
          <p:cNvSpPr>
            <a:spLocks noGrp="1"/>
          </p:cNvSpPr>
          <p:nvPr>
            <p:ph type="body" sz="quarter" idx="22" hasCustomPrompt="1"/>
          </p:nvPr>
        </p:nvSpPr>
        <p:spPr>
          <a:xfrm>
            <a:off x="6729589" y="2623275"/>
            <a:ext cx="1984200"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4"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
        <p:nvSpPr>
          <p:cNvPr id="17" name="Picture Placeholder 2"/>
          <p:cNvSpPr>
            <a:spLocks noGrp="1"/>
          </p:cNvSpPr>
          <p:nvPr>
            <p:ph type="pic" idx="23"/>
          </p:nvPr>
        </p:nvSpPr>
        <p:spPr>
          <a:xfrm>
            <a:off x="4648200" y="2890150"/>
            <a:ext cx="1984200" cy="1485000"/>
          </a:xfrm>
        </p:spPr>
        <p:txBody>
          <a:bodyPr tIns="228600">
            <a:normAutofit/>
          </a:bodyP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smtClean="0"/>
              <a:t>Click icon to add picture</a:t>
            </a:r>
            <a:endParaRPr lang="en-GB" dirty="0"/>
          </a:p>
        </p:txBody>
      </p:sp>
      <p:sp>
        <p:nvSpPr>
          <p:cNvPr id="18" name="Picture Placeholder 2"/>
          <p:cNvSpPr>
            <a:spLocks noGrp="1"/>
          </p:cNvSpPr>
          <p:nvPr>
            <p:ph type="pic" idx="24"/>
          </p:nvPr>
        </p:nvSpPr>
        <p:spPr>
          <a:xfrm>
            <a:off x="6729589" y="2890150"/>
            <a:ext cx="1984200" cy="1485000"/>
          </a:xfrm>
        </p:spPr>
        <p:txBody>
          <a:bodyPr tIns="228600">
            <a:normAutofit/>
          </a:bodyP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smtClean="0"/>
              <a:t>Click icon to add picture</a:t>
            </a:r>
            <a:endParaRPr lang="en-GB" dirty="0"/>
          </a:p>
        </p:txBody>
      </p:sp>
      <p:sp>
        <p:nvSpPr>
          <p:cNvPr id="19" name="Text Placeholder 14"/>
          <p:cNvSpPr>
            <a:spLocks noGrp="1"/>
          </p:cNvSpPr>
          <p:nvPr>
            <p:ph type="body" sz="quarter" idx="25" hasCustomPrompt="1"/>
          </p:nvPr>
        </p:nvSpPr>
        <p:spPr>
          <a:xfrm>
            <a:off x="4648200" y="4226650"/>
            <a:ext cx="1984200"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20" name="Text Placeholder 14"/>
          <p:cNvSpPr>
            <a:spLocks noGrp="1"/>
          </p:cNvSpPr>
          <p:nvPr>
            <p:ph type="body" sz="quarter" idx="26" hasCustomPrompt="1"/>
          </p:nvPr>
        </p:nvSpPr>
        <p:spPr>
          <a:xfrm>
            <a:off x="6729589" y="4226650"/>
            <a:ext cx="1984200"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Tree>
    <p:extLst>
      <p:ext uri="{BB962C8B-B14F-4D97-AF65-F5344CB8AC3E}">
        <p14:creationId xmlns:p14="http://schemas.microsoft.com/office/powerpoint/2010/main" val="2624628747"/>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 Pictures">
    <p:spTree>
      <p:nvGrpSpPr>
        <p:cNvPr id="1" name=""/>
        <p:cNvGrpSpPr/>
        <p:nvPr/>
      </p:nvGrpSpPr>
      <p:grpSpPr>
        <a:xfrm>
          <a:off x="0" y="0"/>
          <a:ext cx="0" cy="0"/>
          <a:chOff x="0" y="0"/>
          <a:chExt cx="0" cy="0"/>
        </a:xfrm>
      </p:grpSpPr>
      <p:sp>
        <p:nvSpPr>
          <p:cNvPr id="2" name="Title 1"/>
          <p:cNvSpPr>
            <a:spLocks noGrp="1"/>
          </p:cNvSpPr>
          <p:nvPr>
            <p:ph type="title"/>
          </p:nvPr>
        </p:nvSpPr>
        <p:spPr>
          <a:xfrm>
            <a:off x="419100" y="371475"/>
            <a:ext cx="8294688" cy="400051"/>
          </a:xfrm>
        </p:spPr>
        <p:txBody>
          <a:bodyPr/>
          <a:lstStyle/>
          <a:p>
            <a:r>
              <a:rPr lang="en-GB" smtClean="0"/>
              <a:t>Click to edit Master title style</a:t>
            </a:r>
            <a:endParaRPr lang="en-GB"/>
          </a:p>
        </p:txBody>
      </p:sp>
      <p:sp>
        <p:nvSpPr>
          <p:cNvPr id="4" name="Footer Placeholder 3"/>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5" name="Slide Number Placeholder 4"/>
          <p:cNvSpPr>
            <a:spLocks noGrp="1"/>
          </p:cNvSpPr>
          <p:nvPr>
            <p:ph type="sldNum" sz="quarter" idx="12"/>
          </p:nvPr>
        </p:nvSpPr>
        <p:spPr/>
        <p:txBody>
          <a:bodyPr/>
          <a:lstStyle/>
          <a:p>
            <a:fld id="{DF28FB93-0A08-4E7D-8E63-9EFA29F1E093}" type="slidenum">
              <a:rPr lang="en-GB" smtClean="0"/>
              <a:pPr/>
              <a:t>‹#›</a:t>
            </a:fld>
            <a:endParaRPr lang="en-GB" dirty="0"/>
          </a:p>
        </p:txBody>
      </p:sp>
      <p:sp>
        <p:nvSpPr>
          <p:cNvPr id="6"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
        <p:nvSpPr>
          <p:cNvPr id="8" name="Picture Placeholder 6"/>
          <p:cNvSpPr>
            <a:spLocks noGrp="1"/>
          </p:cNvSpPr>
          <p:nvPr>
            <p:ph type="pic" sz="quarter" idx="14" hasCustomPrompt="1"/>
          </p:nvPr>
        </p:nvSpPr>
        <p:spPr>
          <a:xfrm>
            <a:off x="419100" y="1286775"/>
            <a:ext cx="4065589" cy="1485000"/>
          </a:xfrm>
        </p:spPr>
        <p:txBody>
          <a:bodyPr vert="horz" lIns="0" tIns="108000" rIns="0" bIns="0" rtlCol="0">
            <a:normAutofit/>
          </a:bodyPr>
          <a:lstStyle>
            <a:lvl1pPr>
              <a:lnSpc>
                <a:spcPct val="100000"/>
              </a:lnSpc>
              <a:spcBef>
                <a:spcPts val="0"/>
              </a:spcBef>
              <a:defRPr lang="en-GB" sz="900" dirty="0"/>
            </a:lvl1pPr>
          </a:lstStyle>
          <a:p>
            <a:pPr lvl="0" indent="0" algn="ctr"/>
            <a:r>
              <a:rPr lang="en-US" dirty="0" smtClean="0"/>
              <a:t>To insert a Mindshare image, select the placeholder to fill and then, on the Mindshare tab of the ribbon, click Mindshare Images. To insert an image from your files,  click the icon in the centre of the placeholder.</a:t>
            </a:r>
          </a:p>
          <a:p>
            <a:pPr lvl="0" indent="0" algn="ctr"/>
            <a:endParaRPr lang="en-GB" dirty="0"/>
          </a:p>
        </p:txBody>
      </p:sp>
      <p:sp>
        <p:nvSpPr>
          <p:cNvPr id="10" name="Picture Placeholder 6"/>
          <p:cNvSpPr>
            <a:spLocks noGrp="1"/>
          </p:cNvSpPr>
          <p:nvPr>
            <p:ph type="pic" sz="quarter" idx="18"/>
          </p:nvPr>
        </p:nvSpPr>
        <p:spPr>
          <a:xfrm>
            <a:off x="4648199" y="1286775"/>
            <a:ext cx="4065589" cy="1485000"/>
          </a:xfrm>
        </p:spPr>
        <p:txBody>
          <a:bodyPr vert="horz" lIns="0" tIns="228600" rIns="0" bIns="0" rtlCol="0">
            <a:normAutofit/>
          </a:bodyPr>
          <a:lstStyle>
            <a:lvl1pPr>
              <a:lnSpc>
                <a:spcPct val="100000"/>
              </a:lnSpc>
              <a:spcBef>
                <a:spcPts val="0"/>
              </a:spcBef>
              <a:defRPr lang="en-GB" sz="1200" dirty="0"/>
            </a:lvl1pPr>
          </a:lstStyle>
          <a:p>
            <a:pPr lvl="0" indent="0" algn="ctr"/>
            <a:r>
              <a:rPr lang="en-GB" dirty="0" smtClean="0"/>
              <a:t>Click icon to add picture</a:t>
            </a:r>
            <a:endParaRPr lang="en-GB" dirty="0"/>
          </a:p>
        </p:txBody>
      </p:sp>
      <p:sp>
        <p:nvSpPr>
          <p:cNvPr id="12" name="Picture Placeholder 6"/>
          <p:cNvSpPr>
            <a:spLocks noGrp="1"/>
          </p:cNvSpPr>
          <p:nvPr>
            <p:ph type="pic" sz="quarter" idx="20"/>
          </p:nvPr>
        </p:nvSpPr>
        <p:spPr>
          <a:xfrm>
            <a:off x="4648199" y="2890150"/>
            <a:ext cx="4065589" cy="1485000"/>
          </a:xfrm>
        </p:spPr>
        <p:txBody>
          <a:bodyPr vert="horz" lIns="0" tIns="228600" rIns="0" bIns="0" rtlCol="0">
            <a:normAutofit/>
          </a:bodyPr>
          <a:lstStyle>
            <a:lvl1pPr>
              <a:lnSpc>
                <a:spcPct val="100000"/>
              </a:lnSpc>
              <a:spcBef>
                <a:spcPts val="0"/>
              </a:spcBef>
              <a:defRPr lang="en-GB" sz="1200" dirty="0"/>
            </a:lvl1pPr>
          </a:lstStyle>
          <a:p>
            <a:pPr lvl="0" indent="0" algn="ctr"/>
            <a:r>
              <a:rPr lang="en-GB" dirty="0" smtClean="0"/>
              <a:t>Click icon to add picture</a:t>
            </a:r>
            <a:endParaRPr lang="en-GB" dirty="0"/>
          </a:p>
        </p:txBody>
      </p:sp>
      <p:sp>
        <p:nvSpPr>
          <p:cNvPr id="13" name="Picture Placeholder 6"/>
          <p:cNvSpPr>
            <a:spLocks noGrp="1"/>
          </p:cNvSpPr>
          <p:nvPr>
            <p:ph type="pic" sz="quarter" idx="21"/>
          </p:nvPr>
        </p:nvSpPr>
        <p:spPr>
          <a:xfrm>
            <a:off x="419100" y="2890150"/>
            <a:ext cx="4065589" cy="1485000"/>
          </a:xfrm>
        </p:spPr>
        <p:txBody>
          <a:bodyPr vert="horz" lIns="0" tIns="228600" rIns="0" bIns="0" rtlCol="0">
            <a:normAutofit/>
          </a:bodyPr>
          <a:lstStyle>
            <a:lvl1pPr>
              <a:lnSpc>
                <a:spcPct val="100000"/>
              </a:lnSpc>
              <a:spcBef>
                <a:spcPts val="0"/>
              </a:spcBef>
              <a:defRPr lang="en-GB" sz="1200" dirty="0"/>
            </a:lvl1pPr>
          </a:lstStyle>
          <a:p>
            <a:pPr lvl="0" indent="0" algn="ctr"/>
            <a:r>
              <a:rPr lang="en-GB" dirty="0" smtClean="0"/>
              <a:t>Click icon to add picture</a:t>
            </a:r>
            <a:endParaRPr lang="en-GB" dirty="0"/>
          </a:p>
        </p:txBody>
      </p:sp>
      <p:sp>
        <p:nvSpPr>
          <p:cNvPr id="9" name="Text Placeholder 14"/>
          <p:cNvSpPr>
            <a:spLocks noGrp="1"/>
          </p:cNvSpPr>
          <p:nvPr>
            <p:ph type="body" sz="quarter" idx="17" hasCustomPrompt="1"/>
          </p:nvPr>
        </p:nvSpPr>
        <p:spPr>
          <a:xfrm>
            <a:off x="4648199" y="4226650"/>
            <a:ext cx="4065589"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1" name="Text Placeholder 14"/>
          <p:cNvSpPr>
            <a:spLocks noGrp="1"/>
          </p:cNvSpPr>
          <p:nvPr>
            <p:ph type="body" sz="quarter" idx="19" hasCustomPrompt="1"/>
          </p:nvPr>
        </p:nvSpPr>
        <p:spPr>
          <a:xfrm>
            <a:off x="419100" y="4226650"/>
            <a:ext cx="4065589"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4" name="Text Placeholder 14"/>
          <p:cNvSpPr>
            <a:spLocks noGrp="1"/>
          </p:cNvSpPr>
          <p:nvPr>
            <p:ph type="body" sz="quarter" idx="22" hasCustomPrompt="1"/>
          </p:nvPr>
        </p:nvSpPr>
        <p:spPr>
          <a:xfrm>
            <a:off x="4648199" y="2623275"/>
            <a:ext cx="4065589"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5" name="Text Placeholder 14"/>
          <p:cNvSpPr>
            <a:spLocks noGrp="1"/>
          </p:cNvSpPr>
          <p:nvPr>
            <p:ph type="body" sz="quarter" idx="23" hasCustomPrompt="1"/>
          </p:nvPr>
        </p:nvSpPr>
        <p:spPr>
          <a:xfrm>
            <a:off x="419100" y="2623275"/>
            <a:ext cx="4065589"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Tree>
    <p:extLst>
      <p:ext uri="{BB962C8B-B14F-4D97-AF65-F5344CB8AC3E}">
        <p14:creationId xmlns:p14="http://schemas.microsoft.com/office/powerpoint/2010/main" val="111690773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GB"/>
          </a:p>
        </p:txBody>
      </p:sp>
      <p:sp>
        <p:nvSpPr>
          <p:cNvPr id="7"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
        <p:nvSpPr>
          <p:cNvPr id="9" name="Chart Placeholder 8"/>
          <p:cNvSpPr>
            <a:spLocks noGrp="1"/>
          </p:cNvSpPr>
          <p:nvPr>
            <p:ph type="chart" sz="quarter" idx="14"/>
          </p:nvPr>
        </p:nvSpPr>
        <p:spPr>
          <a:xfrm>
            <a:off x="419100" y="1285875"/>
            <a:ext cx="8294689" cy="3427413"/>
          </a:xfrm>
        </p:spPr>
        <p:txBody>
          <a:bodyPr/>
          <a:lstStyle/>
          <a:p>
            <a:endParaRPr lang="en-GB" dirty="0"/>
          </a:p>
        </p:txBody>
      </p:sp>
    </p:spTree>
    <p:extLst>
      <p:ext uri="{BB962C8B-B14F-4D97-AF65-F5344CB8AC3E}">
        <p14:creationId xmlns:p14="http://schemas.microsoft.com/office/powerpoint/2010/main" val="3141480557"/>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losing Slide">
    <p:spTree>
      <p:nvGrpSpPr>
        <p:cNvPr id="1" name=""/>
        <p:cNvGrpSpPr/>
        <p:nvPr/>
      </p:nvGrpSpPr>
      <p:grpSpPr>
        <a:xfrm>
          <a:off x="0" y="0"/>
          <a:ext cx="0" cy="0"/>
          <a:chOff x="0" y="0"/>
          <a:chExt cx="0" cy="0"/>
        </a:xfrm>
      </p:grpSpPr>
      <p:sp>
        <p:nvSpPr>
          <p:cNvPr id="2" name="Title 1"/>
          <p:cNvSpPr>
            <a:spLocks noGrp="1"/>
          </p:cNvSpPr>
          <p:nvPr>
            <p:ph type="title"/>
          </p:nvPr>
        </p:nvSpPr>
        <p:spPr>
          <a:xfrm>
            <a:off x="419100" y="1105214"/>
            <a:ext cx="5378987" cy="1390336"/>
          </a:xfrm>
        </p:spPr>
        <p:txBody>
          <a:bodyPr anchor="b">
            <a:normAutofit/>
          </a:bodyPr>
          <a:lstStyle>
            <a:lvl1pPr>
              <a:defRPr sz="4800"/>
            </a:lvl1pPr>
          </a:lstStyle>
          <a:p>
            <a:r>
              <a:rPr lang="en-GB" dirty="0" smtClean="0"/>
              <a:t>Click to edit Master title style</a:t>
            </a:r>
            <a:endParaRPr lang="en-GB" dirty="0"/>
          </a:p>
        </p:txBody>
      </p:sp>
      <p:sp>
        <p:nvSpPr>
          <p:cNvPr id="4" name="Footer Placeholder 3"/>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5" name="Slide Number Placeholder 4"/>
          <p:cNvSpPr>
            <a:spLocks noGrp="1"/>
          </p:cNvSpPr>
          <p:nvPr>
            <p:ph type="sldNum" sz="quarter" idx="12"/>
          </p:nvPr>
        </p:nvSpPr>
        <p:spPr/>
        <p:txBody>
          <a:bodyPr/>
          <a:lstStyle/>
          <a:p>
            <a:fld id="{DF28FB93-0A08-4E7D-8E63-9EFA29F1E093}" type="slidenum">
              <a:rPr lang="en-GB" smtClean="0"/>
              <a:pPr/>
              <a:t>‹#›</a:t>
            </a:fld>
            <a:endParaRPr lang="en-GB" dirty="0"/>
          </a:p>
        </p:txBody>
      </p:sp>
    </p:spTree>
    <p:extLst>
      <p:ext uri="{BB962C8B-B14F-4D97-AF65-F5344CB8AC3E}">
        <p14:creationId xmlns:p14="http://schemas.microsoft.com/office/powerpoint/2010/main" val="1704438455"/>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GB" dirty="0"/>
          </a:p>
        </p:txBody>
      </p:sp>
      <p:sp>
        <p:nvSpPr>
          <p:cNvPr id="5" name="Footer Placeholder 4"/>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6" name="Slide Number Placeholder 5"/>
          <p:cNvSpPr>
            <a:spLocks noGrp="1"/>
          </p:cNvSpPr>
          <p:nvPr>
            <p:ph type="sldNum" sz="quarter" idx="12"/>
          </p:nvPr>
        </p:nvSpPr>
        <p:spPr/>
        <p:txBody>
          <a:bodyPr/>
          <a:lstStyle/>
          <a:p>
            <a:fld id="{DF28FB93-0A08-4E7D-8E63-9EFA29F1E093}" type="slidenum">
              <a:rPr lang="en-GB" smtClean="0"/>
              <a:pPr/>
              <a:t>‹#›</a:t>
            </a:fld>
            <a:endParaRPr lang="en-GB" dirty="0"/>
          </a:p>
        </p:txBody>
      </p:sp>
      <p:sp>
        <p:nvSpPr>
          <p:cNvPr id="7" name="Vertical Text Placeholder 2"/>
          <p:cNvSpPr>
            <a:spLocks noGrp="1"/>
          </p:cNvSpPr>
          <p:nvPr>
            <p:ph type="body" orient="vert" idx="1"/>
          </p:nvPr>
        </p:nvSpPr>
        <p:spPr>
          <a:xfrm>
            <a:off x="419100" y="1476375"/>
            <a:ext cx="8294689" cy="3236913"/>
          </a:xfrm>
        </p:spPr>
        <p:txBody>
          <a:bodyPr vert="eaVert"/>
          <a:lstStyle>
            <a:lvl5pPr marL="1983600">
              <a:defRPr/>
            </a:lvl5pPr>
            <a:lvl6pPr marL="1983600">
              <a:defRPr/>
            </a:lvl6pPr>
            <a:lvl7pPr marL="1983600">
              <a:defRPr/>
            </a:lvl7pPr>
            <a:lvl8pPr marL="1983600">
              <a:defRPr baseline="0"/>
            </a:lvl8pPr>
            <a:lvl9pPr marL="1983600">
              <a:defRPr baseline="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Tree>
    <p:extLst>
      <p:ext uri="{BB962C8B-B14F-4D97-AF65-F5344CB8AC3E}">
        <p14:creationId xmlns:p14="http://schemas.microsoft.com/office/powerpoint/2010/main" val="1624978938"/>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hasCustomPrompt="1"/>
          </p:nvPr>
        </p:nvSpPr>
        <p:spPr>
          <a:xfrm>
            <a:off x="8239125" y="421395"/>
            <a:ext cx="457200" cy="4291893"/>
          </a:xfrm>
        </p:spPr>
        <p:txBody>
          <a:bodyPr vert="eaVert"/>
          <a:lstStyle/>
          <a:p>
            <a:r>
              <a:rPr lang="en-GB" dirty="0" smtClean="0"/>
              <a:t>Click to edit title</a:t>
            </a:r>
            <a:endParaRPr lang="en-GB" dirty="0"/>
          </a:p>
        </p:txBody>
      </p:sp>
      <p:sp>
        <p:nvSpPr>
          <p:cNvPr id="5" name="Footer Placeholder 4"/>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6" name="Slide Number Placeholder 5"/>
          <p:cNvSpPr>
            <a:spLocks noGrp="1"/>
          </p:cNvSpPr>
          <p:nvPr>
            <p:ph type="sldNum" sz="quarter" idx="12"/>
          </p:nvPr>
        </p:nvSpPr>
        <p:spPr/>
        <p:txBody>
          <a:bodyPr/>
          <a:lstStyle/>
          <a:p>
            <a:fld id="{DF28FB93-0A08-4E7D-8E63-9EFA29F1E093}" type="slidenum">
              <a:rPr lang="en-GB" smtClean="0"/>
              <a:pPr/>
              <a:t>‹#›</a:t>
            </a:fld>
            <a:endParaRPr lang="en-GB" dirty="0"/>
          </a:p>
        </p:txBody>
      </p:sp>
      <p:sp>
        <p:nvSpPr>
          <p:cNvPr id="7" name="Vertical Text Placeholder 2"/>
          <p:cNvSpPr>
            <a:spLocks noGrp="1"/>
          </p:cNvSpPr>
          <p:nvPr>
            <p:ph type="body" orient="vert" idx="1"/>
          </p:nvPr>
        </p:nvSpPr>
        <p:spPr>
          <a:xfrm>
            <a:off x="419100" y="421395"/>
            <a:ext cx="6630574" cy="4291893"/>
          </a:xfrm>
        </p:spPr>
        <p:txBody>
          <a:bodyPr vert="eaVert"/>
          <a:lstStyle>
            <a:lvl5pPr marL="1983600">
              <a:defRPr/>
            </a:lvl5pPr>
            <a:lvl6pPr marL="1983600">
              <a:defRPr/>
            </a:lvl6pPr>
            <a:lvl7pPr marL="1983600">
              <a:defRPr/>
            </a:lvl7pPr>
            <a:lvl8pPr marL="1983600">
              <a:defRPr/>
            </a:lvl8pPr>
            <a:lvl9pPr marL="1983600">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Text Placeholder 7"/>
          <p:cNvSpPr>
            <a:spLocks noGrp="1"/>
          </p:cNvSpPr>
          <p:nvPr>
            <p:ph type="body" sz="quarter" idx="13" hasCustomPrompt="1"/>
          </p:nvPr>
        </p:nvSpPr>
        <p:spPr>
          <a:xfrm rot="5400000">
            <a:off x="5902678" y="2376845"/>
            <a:ext cx="4291896" cy="381000"/>
          </a:xfrm>
        </p:spPr>
        <p:txBody>
          <a:bodyPr>
            <a:noAutofit/>
          </a:bodyPr>
          <a:lstStyle>
            <a:lvl1pPr marL="0" indent="0" algn="l">
              <a:spcBef>
                <a:spcPts val="0"/>
              </a:spcBef>
              <a:defRPr sz="2200" b="0" baseline="0"/>
            </a:lvl1pPr>
            <a:lvl2pPr marL="0" indent="0" algn="l">
              <a:spcBef>
                <a:spcPts val="0"/>
              </a:spcBef>
              <a:defRPr sz="1800" b="0"/>
            </a:lvl2pPr>
            <a:lvl3pPr marL="0" indent="0" algn="l">
              <a:spcBef>
                <a:spcPts val="0"/>
              </a:spcBef>
              <a:defRPr sz="1800" b="0"/>
            </a:lvl3pPr>
            <a:lvl4pPr marL="0" indent="0" algn="l">
              <a:spcBef>
                <a:spcPts val="0"/>
              </a:spcBef>
              <a:defRPr sz="1800" b="0"/>
            </a:lvl4pPr>
            <a:lvl5pPr marL="0" indent="0" algn="l">
              <a:spcBef>
                <a:spcPts val="0"/>
              </a:spcBef>
              <a:defRPr sz="1800" b="0"/>
            </a:lvl5pPr>
          </a:lstStyle>
          <a:p>
            <a:pPr lvl="0"/>
            <a:r>
              <a:rPr lang="en-GB" dirty="0" smtClean="0"/>
              <a:t>Subtitle</a:t>
            </a:r>
            <a:endParaRPr lang="en-GB" dirty="0"/>
          </a:p>
        </p:txBody>
      </p:sp>
    </p:spTree>
    <p:extLst>
      <p:ext uri="{BB962C8B-B14F-4D97-AF65-F5344CB8AC3E}">
        <p14:creationId xmlns:p14="http://schemas.microsoft.com/office/powerpoint/2010/main" val="393144983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 y="1210481"/>
            <a:ext cx="5378987" cy="1208556"/>
          </a:xfrm>
        </p:spPr>
        <p:txBody>
          <a:bodyPr anchor="b">
            <a:normAutofit/>
          </a:bodyPr>
          <a:lstStyle>
            <a:lvl1pPr algn="l">
              <a:defRPr sz="4800" b="1" cap="none" baseline="0">
                <a:solidFill>
                  <a:schemeClr val="tx1"/>
                </a:solidFill>
              </a:defRPr>
            </a:lvl1pPr>
          </a:lstStyle>
          <a:p>
            <a:r>
              <a:rPr lang="en-GB" dirty="0" smtClean="0"/>
              <a:t>Divider page</a:t>
            </a:r>
            <a:endParaRPr lang="en-GB" dirty="0"/>
          </a:p>
        </p:txBody>
      </p:sp>
      <p:sp>
        <p:nvSpPr>
          <p:cNvPr id="3" name="Text Placeholder 2"/>
          <p:cNvSpPr>
            <a:spLocks noGrp="1"/>
          </p:cNvSpPr>
          <p:nvPr>
            <p:ph type="body" idx="1" hasCustomPrompt="1"/>
          </p:nvPr>
        </p:nvSpPr>
        <p:spPr>
          <a:xfrm>
            <a:off x="419100" y="2401227"/>
            <a:ext cx="4464588" cy="1314450"/>
          </a:xfrm>
        </p:spPr>
        <p:txBody>
          <a:bodyPr anchor="t">
            <a:normAutofit/>
          </a:bodyPr>
          <a:lstStyle>
            <a:lvl1pPr marL="0" indent="0">
              <a:buNone/>
              <a:defRPr sz="3000" b="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smtClean="0"/>
              <a:t>Subtitle</a:t>
            </a:r>
          </a:p>
        </p:txBody>
      </p:sp>
      <p:grpSp>
        <p:nvGrpSpPr>
          <p:cNvPr id="16" name="Group 15"/>
          <p:cNvGrpSpPr/>
          <p:nvPr userDrawn="1"/>
        </p:nvGrpSpPr>
        <p:grpSpPr>
          <a:xfrm>
            <a:off x="424890" y="194920"/>
            <a:ext cx="1704044" cy="475487"/>
            <a:chOff x="566670" y="258275"/>
            <a:chExt cx="1704044" cy="475487"/>
          </a:xfrm>
        </p:grpSpPr>
        <p:pic>
          <p:nvPicPr>
            <p:cNvPr id="17" name="logo graphic"/>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795226" y="258275"/>
              <a:ext cx="475488" cy="475487"/>
            </a:xfrm>
            <a:prstGeom prst="rect">
              <a:avLst/>
            </a:prstGeom>
          </p:spPr>
        </p:pic>
        <p:grpSp>
          <p:nvGrpSpPr>
            <p:cNvPr id="20" name="letters"/>
            <p:cNvGrpSpPr/>
            <p:nvPr/>
          </p:nvGrpSpPr>
          <p:grpSpPr>
            <a:xfrm>
              <a:off x="566670" y="431006"/>
              <a:ext cx="1169700" cy="130025"/>
              <a:chOff x="566670" y="435864"/>
              <a:chExt cx="1169700" cy="130025"/>
            </a:xfrm>
          </p:grpSpPr>
          <p:sp>
            <p:nvSpPr>
              <p:cNvPr id="21" name="Freeform 6"/>
              <p:cNvSpPr>
                <a:spLocks/>
              </p:cNvSpPr>
              <p:nvPr/>
            </p:nvSpPr>
            <p:spPr bwMode="auto">
              <a:xfrm>
                <a:off x="566670" y="437296"/>
                <a:ext cx="146069" cy="127448"/>
              </a:xfrm>
              <a:custGeom>
                <a:avLst/>
                <a:gdLst>
                  <a:gd name="T0" fmla="*/ 216 w 216"/>
                  <a:gd name="T1" fmla="*/ 188 h 188"/>
                  <a:gd name="T2" fmla="*/ 178 w 216"/>
                  <a:gd name="T3" fmla="*/ 188 h 188"/>
                  <a:gd name="T4" fmla="*/ 178 w 216"/>
                  <a:gd name="T5" fmla="*/ 66 h 188"/>
                  <a:gd name="T6" fmla="*/ 113 w 216"/>
                  <a:gd name="T7" fmla="*/ 145 h 188"/>
                  <a:gd name="T8" fmla="*/ 103 w 216"/>
                  <a:gd name="T9" fmla="*/ 145 h 188"/>
                  <a:gd name="T10" fmla="*/ 38 w 216"/>
                  <a:gd name="T11" fmla="*/ 66 h 188"/>
                  <a:gd name="T12" fmla="*/ 38 w 216"/>
                  <a:gd name="T13" fmla="*/ 188 h 188"/>
                  <a:gd name="T14" fmla="*/ 0 w 216"/>
                  <a:gd name="T15" fmla="*/ 188 h 188"/>
                  <a:gd name="T16" fmla="*/ 0 w 216"/>
                  <a:gd name="T17" fmla="*/ 20 h 188"/>
                  <a:gd name="T18" fmla="*/ 20 w 216"/>
                  <a:gd name="T19" fmla="*/ 0 h 188"/>
                  <a:gd name="T20" fmla="*/ 20 w 216"/>
                  <a:gd name="T21" fmla="*/ 0 h 188"/>
                  <a:gd name="T22" fmla="*/ 38 w 216"/>
                  <a:gd name="T23" fmla="*/ 9 h 188"/>
                  <a:gd name="T24" fmla="*/ 108 w 216"/>
                  <a:gd name="T25" fmla="*/ 94 h 188"/>
                  <a:gd name="T26" fmla="*/ 182 w 216"/>
                  <a:gd name="T27" fmla="*/ 6 h 188"/>
                  <a:gd name="T28" fmla="*/ 196 w 216"/>
                  <a:gd name="T29" fmla="*/ 0 h 188"/>
                  <a:gd name="T30" fmla="*/ 196 w 216"/>
                  <a:gd name="T31" fmla="*/ 0 h 188"/>
                  <a:gd name="T32" fmla="*/ 216 w 216"/>
                  <a:gd name="T33" fmla="*/ 19 h 188"/>
                  <a:gd name="T34" fmla="*/ 216 w 216"/>
                  <a:gd name="T35"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6" h="188">
                    <a:moveTo>
                      <a:pt x="216" y="188"/>
                    </a:moveTo>
                    <a:cubicBezTo>
                      <a:pt x="178" y="188"/>
                      <a:pt x="178" y="188"/>
                      <a:pt x="178" y="188"/>
                    </a:cubicBezTo>
                    <a:cubicBezTo>
                      <a:pt x="178" y="66"/>
                      <a:pt x="178" y="66"/>
                      <a:pt x="178" y="66"/>
                    </a:cubicBezTo>
                    <a:cubicBezTo>
                      <a:pt x="113" y="145"/>
                      <a:pt x="113" y="145"/>
                      <a:pt x="113" y="145"/>
                    </a:cubicBezTo>
                    <a:cubicBezTo>
                      <a:pt x="110" y="148"/>
                      <a:pt x="106" y="148"/>
                      <a:pt x="103" y="145"/>
                    </a:cubicBezTo>
                    <a:cubicBezTo>
                      <a:pt x="38" y="66"/>
                      <a:pt x="38" y="66"/>
                      <a:pt x="38" y="66"/>
                    </a:cubicBezTo>
                    <a:cubicBezTo>
                      <a:pt x="38" y="188"/>
                      <a:pt x="38" y="188"/>
                      <a:pt x="38" y="188"/>
                    </a:cubicBezTo>
                    <a:cubicBezTo>
                      <a:pt x="0" y="188"/>
                      <a:pt x="0" y="188"/>
                      <a:pt x="0" y="188"/>
                    </a:cubicBezTo>
                    <a:cubicBezTo>
                      <a:pt x="0" y="20"/>
                      <a:pt x="0" y="20"/>
                      <a:pt x="0" y="20"/>
                    </a:cubicBezTo>
                    <a:cubicBezTo>
                      <a:pt x="0" y="9"/>
                      <a:pt x="9" y="0"/>
                      <a:pt x="20" y="0"/>
                    </a:cubicBezTo>
                    <a:cubicBezTo>
                      <a:pt x="20" y="0"/>
                      <a:pt x="20" y="0"/>
                      <a:pt x="20" y="0"/>
                    </a:cubicBezTo>
                    <a:cubicBezTo>
                      <a:pt x="28" y="0"/>
                      <a:pt x="32" y="3"/>
                      <a:pt x="38" y="9"/>
                    </a:cubicBezTo>
                    <a:cubicBezTo>
                      <a:pt x="108" y="94"/>
                      <a:pt x="108" y="94"/>
                      <a:pt x="108" y="94"/>
                    </a:cubicBezTo>
                    <a:cubicBezTo>
                      <a:pt x="182" y="6"/>
                      <a:pt x="182" y="6"/>
                      <a:pt x="182" y="6"/>
                    </a:cubicBezTo>
                    <a:cubicBezTo>
                      <a:pt x="185" y="2"/>
                      <a:pt x="190" y="0"/>
                      <a:pt x="196" y="0"/>
                    </a:cubicBezTo>
                    <a:cubicBezTo>
                      <a:pt x="196" y="0"/>
                      <a:pt x="196" y="0"/>
                      <a:pt x="196" y="0"/>
                    </a:cubicBezTo>
                    <a:cubicBezTo>
                      <a:pt x="207" y="0"/>
                      <a:pt x="216" y="8"/>
                      <a:pt x="216" y="19"/>
                    </a:cubicBezTo>
                    <a:lnTo>
                      <a:pt x="216" y="1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2" name="Freeform 7"/>
              <p:cNvSpPr>
                <a:spLocks noEditPoints="1"/>
              </p:cNvSpPr>
              <p:nvPr/>
            </p:nvSpPr>
            <p:spPr bwMode="auto">
              <a:xfrm>
                <a:off x="1350862" y="436723"/>
                <a:ext cx="146069" cy="128020"/>
              </a:xfrm>
              <a:custGeom>
                <a:avLst/>
                <a:gdLst>
                  <a:gd name="T0" fmla="*/ 0 w 216"/>
                  <a:gd name="T1" fmla="*/ 189 h 189"/>
                  <a:gd name="T2" fmla="*/ 42 w 216"/>
                  <a:gd name="T3" fmla="*/ 189 h 189"/>
                  <a:gd name="T4" fmla="*/ 66 w 216"/>
                  <a:gd name="T5" fmla="*/ 138 h 189"/>
                  <a:gd name="T6" fmla="*/ 148 w 216"/>
                  <a:gd name="T7" fmla="*/ 138 h 189"/>
                  <a:gd name="T8" fmla="*/ 174 w 216"/>
                  <a:gd name="T9" fmla="*/ 189 h 189"/>
                  <a:gd name="T10" fmla="*/ 216 w 216"/>
                  <a:gd name="T11" fmla="*/ 189 h 189"/>
                  <a:gd name="T12" fmla="*/ 124 w 216"/>
                  <a:gd name="T13" fmla="*/ 9 h 189"/>
                  <a:gd name="T14" fmla="*/ 106 w 216"/>
                  <a:gd name="T15" fmla="*/ 0 h 189"/>
                  <a:gd name="T16" fmla="*/ 106 w 216"/>
                  <a:gd name="T17" fmla="*/ 0 h 189"/>
                  <a:gd name="T18" fmla="*/ 89 w 216"/>
                  <a:gd name="T19" fmla="*/ 9 h 189"/>
                  <a:gd name="T20" fmla="*/ 0 w 216"/>
                  <a:gd name="T21" fmla="*/ 189 h 189"/>
                  <a:gd name="T22" fmla="*/ 106 w 216"/>
                  <a:gd name="T23" fmla="*/ 55 h 189"/>
                  <a:gd name="T24" fmla="*/ 133 w 216"/>
                  <a:gd name="T25" fmla="*/ 108 h 189"/>
                  <a:gd name="T26" fmla="*/ 81 w 216"/>
                  <a:gd name="T27" fmla="*/ 108 h 189"/>
                  <a:gd name="T28" fmla="*/ 106 w 216"/>
                  <a:gd name="T29" fmla="*/ 55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6" h="189">
                    <a:moveTo>
                      <a:pt x="0" y="189"/>
                    </a:moveTo>
                    <a:cubicBezTo>
                      <a:pt x="42" y="189"/>
                      <a:pt x="42" y="189"/>
                      <a:pt x="42" y="189"/>
                    </a:cubicBezTo>
                    <a:cubicBezTo>
                      <a:pt x="66" y="138"/>
                      <a:pt x="66" y="138"/>
                      <a:pt x="66" y="138"/>
                    </a:cubicBezTo>
                    <a:cubicBezTo>
                      <a:pt x="148" y="138"/>
                      <a:pt x="148" y="138"/>
                      <a:pt x="148" y="138"/>
                    </a:cubicBezTo>
                    <a:cubicBezTo>
                      <a:pt x="174" y="189"/>
                      <a:pt x="174" y="189"/>
                      <a:pt x="174" y="189"/>
                    </a:cubicBezTo>
                    <a:cubicBezTo>
                      <a:pt x="216" y="189"/>
                      <a:pt x="216" y="189"/>
                      <a:pt x="216" y="189"/>
                    </a:cubicBezTo>
                    <a:cubicBezTo>
                      <a:pt x="124" y="9"/>
                      <a:pt x="124" y="9"/>
                      <a:pt x="124" y="9"/>
                    </a:cubicBezTo>
                    <a:cubicBezTo>
                      <a:pt x="120" y="3"/>
                      <a:pt x="114" y="0"/>
                      <a:pt x="106" y="0"/>
                    </a:cubicBezTo>
                    <a:cubicBezTo>
                      <a:pt x="106" y="0"/>
                      <a:pt x="106" y="0"/>
                      <a:pt x="106" y="0"/>
                    </a:cubicBezTo>
                    <a:cubicBezTo>
                      <a:pt x="99" y="0"/>
                      <a:pt x="93" y="3"/>
                      <a:pt x="89" y="9"/>
                    </a:cubicBezTo>
                    <a:lnTo>
                      <a:pt x="0" y="189"/>
                    </a:lnTo>
                    <a:close/>
                    <a:moveTo>
                      <a:pt x="106" y="55"/>
                    </a:moveTo>
                    <a:cubicBezTo>
                      <a:pt x="133" y="108"/>
                      <a:pt x="133" y="108"/>
                      <a:pt x="133" y="108"/>
                    </a:cubicBezTo>
                    <a:cubicBezTo>
                      <a:pt x="81" y="108"/>
                      <a:pt x="81" y="108"/>
                      <a:pt x="81" y="108"/>
                    </a:cubicBezTo>
                    <a:lnTo>
                      <a:pt x="106" y="5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3" name="Freeform 8"/>
              <p:cNvSpPr>
                <a:spLocks/>
              </p:cNvSpPr>
              <p:nvPr/>
            </p:nvSpPr>
            <p:spPr bwMode="auto">
              <a:xfrm>
                <a:off x="789211" y="437296"/>
                <a:ext cx="128598" cy="127448"/>
              </a:xfrm>
              <a:custGeom>
                <a:avLst/>
                <a:gdLst>
                  <a:gd name="T0" fmla="*/ 190 w 190"/>
                  <a:gd name="T1" fmla="*/ 188 h 188"/>
                  <a:gd name="T2" fmla="*/ 163 w 190"/>
                  <a:gd name="T3" fmla="*/ 188 h 188"/>
                  <a:gd name="T4" fmla="*/ 38 w 190"/>
                  <a:gd name="T5" fmla="*/ 62 h 188"/>
                  <a:gd name="T6" fmla="*/ 38 w 190"/>
                  <a:gd name="T7" fmla="*/ 188 h 188"/>
                  <a:gd name="T8" fmla="*/ 0 w 190"/>
                  <a:gd name="T9" fmla="*/ 188 h 188"/>
                  <a:gd name="T10" fmla="*/ 0 w 190"/>
                  <a:gd name="T11" fmla="*/ 20 h 188"/>
                  <a:gd name="T12" fmla="*/ 21 w 190"/>
                  <a:gd name="T13" fmla="*/ 0 h 188"/>
                  <a:gd name="T14" fmla="*/ 21 w 190"/>
                  <a:gd name="T15" fmla="*/ 0 h 188"/>
                  <a:gd name="T16" fmla="*/ 36 w 190"/>
                  <a:gd name="T17" fmla="*/ 6 h 188"/>
                  <a:gd name="T18" fmla="*/ 152 w 190"/>
                  <a:gd name="T19" fmla="*/ 123 h 188"/>
                  <a:gd name="T20" fmla="*/ 152 w 190"/>
                  <a:gd name="T21" fmla="*/ 12 h 188"/>
                  <a:gd name="T22" fmla="*/ 165 w 190"/>
                  <a:gd name="T23" fmla="*/ 0 h 188"/>
                  <a:gd name="T24" fmla="*/ 178 w 190"/>
                  <a:gd name="T25" fmla="*/ 0 h 188"/>
                  <a:gd name="T26" fmla="*/ 190 w 190"/>
                  <a:gd name="T27" fmla="*/ 12 h 188"/>
                  <a:gd name="T28" fmla="*/ 190 w 190"/>
                  <a:gd name="T29"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0" h="188">
                    <a:moveTo>
                      <a:pt x="190" y="188"/>
                    </a:moveTo>
                    <a:cubicBezTo>
                      <a:pt x="163" y="188"/>
                      <a:pt x="163" y="188"/>
                      <a:pt x="163" y="188"/>
                    </a:cubicBezTo>
                    <a:cubicBezTo>
                      <a:pt x="38" y="62"/>
                      <a:pt x="38" y="62"/>
                      <a:pt x="38" y="62"/>
                    </a:cubicBezTo>
                    <a:cubicBezTo>
                      <a:pt x="38" y="188"/>
                      <a:pt x="38" y="188"/>
                      <a:pt x="38" y="188"/>
                    </a:cubicBezTo>
                    <a:cubicBezTo>
                      <a:pt x="0" y="188"/>
                      <a:pt x="0" y="188"/>
                      <a:pt x="0" y="188"/>
                    </a:cubicBezTo>
                    <a:cubicBezTo>
                      <a:pt x="0" y="20"/>
                      <a:pt x="0" y="20"/>
                      <a:pt x="0" y="20"/>
                    </a:cubicBezTo>
                    <a:cubicBezTo>
                      <a:pt x="0" y="9"/>
                      <a:pt x="9" y="0"/>
                      <a:pt x="21" y="0"/>
                    </a:cubicBezTo>
                    <a:cubicBezTo>
                      <a:pt x="21" y="0"/>
                      <a:pt x="21" y="0"/>
                      <a:pt x="21" y="0"/>
                    </a:cubicBezTo>
                    <a:cubicBezTo>
                      <a:pt x="27" y="0"/>
                      <a:pt x="32" y="2"/>
                      <a:pt x="36" y="6"/>
                    </a:cubicBezTo>
                    <a:cubicBezTo>
                      <a:pt x="152" y="123"/>
                      <a:pt x="152" y="123"/>
                      <a:pt x="152" y="123"/>
                    </a:cubicBezTo>
                    <a:cubicBezTo>
                      <a:pt x="152" y="12"/>
                      <a:pt x="152" y="12"/>
                      <a:pt x="152" y="12"/>
                    </a:cubicBezTo>
                    <a:cubicBezTo>
                      <a:pt x="152" y="5"/>
                      <a:pt x="158" y="0"/>
                      <a:pt x="165" y="0"/>
                    </a:cubicBezTo>
                    <a:cubicBezTo>
                      <a:pt x="178" y="0"/>
                      <a:pt x="178" y="0"/>
                      <a:pt x="178" y="0"/>
                    </a:cubicBezTo>
                    <a:cubicBezTo>
                      <a:pt x="185" y="0"/>
                      <a:pt x="190" y="5"/>
                      <a:pt x="190" y="12"/>
                    </a:cubicBezTo>
                    <a:lnTo>
                      <a:pt x="190" y="1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4" name="Freeform 9"/>
              <p:cNvSpPr>
                <a:spLocks noEditPoints="1"/>
              </p:cNvSpPr>
              <p:nvPr/>
            </p:nvSpPr>
            <p:spPr bwMode="auto">
              <a:xfrm>
                <a:off x="943586" y="437296"/>
                <a:ext cx="127739" cy="127448"/>
              </a:xfrm>
              <a:custGeom>
                <a:avLst/>
                <a:gdLst>
                  <a:gd name="T0" fmla="*/ 117 w 189"/>
                  <a:gd name="T1" fmla="*/ 4 h 188"/>
                  <a:gd name="T2" fmla="*/ 72 w 189"/>
                  <a:gd name="T3" fmla="*/ 0 h 188"/>
                  <a:gd name="T4" fmla="*/ 19 w 189"/>
                  <a:gd name="T5" fmla="*/ 0 h 188"/>
                  <a:gd name="T6" fmla="*/ 0 w 189"/>
                  <a:gd name="T7" fmla="*/ 18 h 188"/>
                  <a:gd name="T8" fmla="*/ 0 w 189"/>
                  <a:gd name="T9" fmla="*/ 188 h 188"/>
                  <a:gd name="T10" fmla="*/ 62 w 189"/>
                  <a:gd name="T11" fmla="*/ 188 h 188"/>
                  <a:gd name="T12" fmla="*/ 115 w 189"/>
                  <a:gd name="T13" fmla="*/ 182 h 188"/>
                  <a:gd name="T14" fmla="*/ 189 w 189"/>
                  <a:gd name="T15" fmla="*/ 91 h 188"/>
                  <a:gd name="T16" fmla="*/ 117 w 189"/>
                  <a:gd name="T17" fmla="*/ 4 h 188"/>
                  <a:gd name="T18" fmla="*/ 105 w 189"/>
                  <a:gd name="T19" fmla="*/ 148 h 188"/>
                  <a:gd name="T20" fmla="*/ 62 w 189"/>
                  <a:gd name="T21" fmla="*/ 153 h 188"/>
                  <a:gd name="T22" fmla="*/ 62 w 189"/>
                  <a:gd name="T23" fmla="*/ 153 h 188"/>
                  <a:gd name="T24" fmla="*/ 38 w 189"/>
                  <a:gd name="T25" fmla="*/ 153 h 188"/>
                  <a:gd name="T26" fmla="*/ 38 w 189"/>
                  <a:gd name="T27" fmla="*/ 153 h 188"/>
                  <a:gd name="T28" fmla="*/ 38 w 189"/>
                  <a:gd name="T29" fmla="*/ 34 h 188"/>
                  <a:gd name="T30" fmla="*/ 38 w 189"/>
                  <a:gd name="T31" fmla="*/ 34 h 188"/>
                  <a:gd name="T32" fmla="*/ 68 w 189"/>
                  <a:gd name="T33" fmla="*/ 34 h 188"/>
                  <a:gd name="T34" fmla="*/ 68 w 189"/>
                  <a:gd name="T35" fmla="*/ 34 h 188"/>
                  <a:gd name="T36" fmla="*/ 107 w 189"/>
                  <a:gd name="T37" fmla="*/ 38 h 188"/>
                  <a:gd name="T38" fmla="*/ 150 w 189"/>
                  <a:gd name="T39" fmla="*/ 91 h 188"/>
                  <a:gd name="T40" fmla="*/ 105 w 189"/>
                  <a:gd name="T41" fmla="*/ 14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9" h="188">
                    <a:moveTo>
                      <a:pt x="117" y="4"/>
                    </a:moveTo>
                    <a:cubicBezTo>
                      <a:pt x="104" y="1"/>
                      <a:pt x="89" y="0"/>
                      <a:pt x="72" y="0"/>
                    </a:cubicBezTo>
                    <a:cubicBezTo>
                      <a:pt x="19" y="0"/>
                      <a:pt x="19" y="0"/>
                      <a:pt x="19" y="0"/>
                    </a:cubicBezTo>
                    <a:cubicBezTo>
                      <a:pt x="9" y="0"/>
                      <a:pt x="0" y="8"/>
                      <a:pt x="0" y="18"/>
                    </a:cubicBezTo>
                    <a:cubicBezTo>
                      <a:pt x="0" y="188"/>
                      <a:pt x="0" y="188"/>
                      <a:pt x="0" y="188"/>
                    </a:cubicBezTo>
                    <a:cubicBezTo>
                      <a:pt x="62" y="188"/>
                      <a:pt x="62" y="188"/>
                      <a:pt x="62" y="188"/>
                    </a:cubicBezTo>
                    <a:cubicBezTo>
                      <a:pt x="84" y="188"/>
                      <a:pt x="100" y="186"/>
                      <a:pt x="115" y="182"/>
                    </a:cubicBezTo>
                    <a:cubicBezTo>
                      <a:pt x="163" y="168"/>
                      <a:pt x="189" y="136"/>
                      <a:pt x="189" y="91"/>
                    </a:cubicBezTo>
                    <a:cubicBezTo>
                      <a:pt x="189" y="46"/>
                      <a:pt x="164" y="15"/>
                      <a:pt x="117" y="4"/>
                    </a:cubicBezTo>
                    <a:close/>
                    <a:moveTo>
                      <a:pt x="105" y="148"/>
                    </a:moveTo>
                    <a:cubicBezTo>
                      <a:pt x="94" y="151"/>
                      <a:pt x="79" y="153"/>
                      <a:pt x="62" y="153"/>
                    </a:cubicBezTo>
                    <a:cubicBezTo>
                      <a:pt x="62" y="153"/>
                      <a:pt x="62" y="153"/>
                      <a:pt x="62" y="153"/>
                    </a:cubicBezTo>
                    <a:cubicBezTo>
                      <a:pt x="38" y="153"/>
                      <a:pt x="38" y="153"/>
                      <a:pt x="38" y="153"/>
                    </a:cubicBezTo>
                    <a:cubicBezTo>
                      <a:pt x="38" y="153"/>
                      <a:pt x="38" y="153"/>
                      <a:pt x="38" y="153"/>
                    </a:cubicBezTo>
                    <a:cubicBezTo>
                      <a:pt x="38" y="34"/>
                      <a:pt x="38" y="34"/>
                      <a:pt x="38" y="34"/>
                    </a:cubicBezTo>
                    <a:cubicBezTo>
                      <a:pt x="38" y="34"/>
                      <a:pt x="38" y="34"/>
                      <a:pt x="38" y="34"/>
                    </a:cubicBezTo>
                    <a:cubicBezTo>
                      <a:pt x="68" y="34"/>
                      <a:pt x="68" y="34"/>
                      <a:pt x="68" y="34"/>
                    </a:cubicBezTo>
                    <a:cubicBezTo>
                      <a:pt x="68" y="34"/>
                      <a:pt x="68" y="34"/>
                      <a:pt x="68" y="34"/>
                    </a:cubicBezTo>
                    <a:cubicBezTo>
                      <a:pt x="86" y="34"/>
                      <a:pt x="97" y="35"/>
                      <a:pt x="107" y="38"/>
                    </a:cubicBezTo>
                    <a:cubicBezTo>
                      <a:pt x="136" y="46"/>
                      <a:pt x="150" y="63"/>
                      <a:pt x="150" y="91"/>
                    </a:cubicBezTo>
                    <a:cubicBezTo>
                      <a:pt x="150" y="120"/>
                      <a:pt x="135" y="139"/>
                      <a:pt x="105" y="14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5" name="Freeform 10"/>
              <p:cNvSpPr>
                <a:spLocks noEditPoints="1"/>
              </p:cNvSpPr>
              <p:nvPr/>
            </p:nvSpPr>
            <p:spPr bwMode="auto">
              <a:xfrm>
                <a:off x="1513256" y="437296"/>
                <a:ext cx="110841" cy="127448"/>
              </a:xfrm>
              <a:custGeom>
                <a:avLst/>
                <a:gdLst>
                  <a:gd name="T0" fmla="*/ 113 w 164"/>
                  <a:gd name="T1" fmla="*/ 113 h 188"/>
                  <a:gd name="T2" fmla="*/ 158 w 164"/>
                  <a:gd name="T3" fmla="*/ 58 h 188"/>
                  <a:gd name="T4" fmla="*/ 82 w 164"/>
                  <a:gd name="T5" fmla="*/ 0 h 188"/>
                  <a:gd name="T6" fmla="*/ 19 w 164"/>
                  <a:gd name="T7" fmla="*/ 0 h 188"/>
                  <a:gd name="T8" fmla="*/ 0 w 164"/>
                  <a:gd name="T9" fmla="*/ 18 h 188"/>
                  <a:gd name="T10" fmla="*/ 0 w 164"/>
                  <a:gd name="T11" fmla="*/ 188 h 188"/>
                  <a:gd name="T12" fmla="*/ 38 w 164"/>
                  <a:gd name="T13" fmla="*/ 188 h 188"/>
                  <a:gd name="T14" fmla="*/ 38 w 164"/>
                  <a:gd name="T15" fmla="*/ 118 h 188"/>
                  <a:gd name="T16" fmla="*/ 72 w 164"/>
                  <a:gd name="T17" fmla="*/ 118 h 188"/>
                  <a:gd name="T18" fmla="*/ 119 w 164"/>
                  <a:gd name="T19" fmla="*/ 188 h 188"/>
                  <a:gd name="T20" fmla="*/ 164 w 164"/>
                  <a:gd name="T21" fmla="*/ 188 h 188"/>
                  <a:gd name="T22" fmla="*/ 113 w 164"/>
                  <a:gd name="T23" fmla="*/ 113 h 188"/>
                  <a:gd name="T24" fmla="*/ 38 w 164"/>
                  <a:gd name="T25" fmla="*/ 83 h 188"/>
                  <a:gd name="T26" fmla="*/ 38 w 164"/>
                  <a:gd name="T27" fmla="*/ 34 h 188"/>
                  <a:gd name="T28" fmla="*/ 85 w 164"/>
                  <a:gd name="T29" fmla="*/ 34 h 188"/>
                  <a:gd name="T30" fmla="*/ 118 w 164"/>
                  <a:gd name="T31" fmla="*/ 59 h 188"/>
                  <a:gd name="T32" fmla="*/ 77 w 164"/>
                  <a:gd name="T33" fmla="*/ 83 h 188"/>
                  <a:gd name="T34" fmla="*/ 38 w 164"/>
                  <a:gd name="T35" fmla="*/ 83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4" h="188">
                    <a:moveTo>
                      <a:pt x="113" y="113"/>
                    </a:moveTo>
                    <a:cubicBezTo>
                      <a:pt x="142" y="105"/>
                      <a:pt x="158" y="86"/>
                      <a:pt x="158" y="58"/>
                    </a:cubicBezTo>
                    <a:cubicBezTo>
                      <a:pt x="158" y="22"/>
                      <a:pt x="129" y="0"/>
                      <a:pt x="82" y="0"/>
                    </a:cubicBezTo>
                    <a:cubicBezTo>
                      <a:pt x="19" y="0"/>
                      <a:pt x="19" y="0"/>
                      <a:pt x="19" y="0"/>
                    </a:cubicBezTo>
                    <a:cubicBezTo>
                      <a:pt x="8" y="0"/>
                      <a:pt x="0" y="8"/>
                      <a:pt x="0" y="18"/>
                    </a:cubicBezTo>
                    <a:cubicBezTo>
                      <a:pt x="0" y="188"/>
                      <a:pt x="0" y="188"/>
                      <a:pt x="0" y="188"/>
                    </a:cubicBezTo>
                    <a:cubicBezTo>
                      <a:pt x="38" y="188"/>
                      <a:pt x="38" y="188"/>
                      <a:pt x="38" y="188"/>
                    </a:cubicBezTo>
                    <a:cubicBezTo>
                      <a:pt x="38" y="118"/>
                      <a:pt x="38" y="118"/>
                      <a:pt x="38" y="118"/>
                    </a:cubicBezTo>
                    <a:cubicBezTo>
                      <a:pt x="72" y="118"/>
                      <a:pt x="72" y="118"/>
                      <a:pt x="72" y="118"/>
                    </a:cubicBezTo>
                    <a:cubicBezTo>
                      <a:pt x="119" y="188"/>
                      <a:pt x="119" y="188"/>
                      <a:pt x="119" y="188"/>
                    </a:cubicBezTo>
                    <a:cubicBezTo>
                      <a:pt x="164" y="188"/>
                      <a:pt x="164" y="188"/>
                      <a:pt x="164" y="188"/>
                    </a:cubicBezTo>
                    <a:lnTo>
                      <a:pt x="113" y="113"/>
                    </a:lnTo>
                    <a:close/>
                    <a:moveTo>
                      <a:pt x="38" y="83"/>
                    </a:moveTo>
                    <a:cubicBezTo>
                      <a:pt x="38" y="34"/>
                      <a:pt x="38" y="34"/>
                      <a:pt x="38" y="34"/>
                    </a:cubicBezTo>
                    <a:cubicBezTo>
                      <a:pt x="85" y="34"/>
                      <a:pt x="85" y="34"/>
                      <a:pt x="85" y="34"/>
                    </a:cubicBezTo>
                    <a:cubicBezTo>
                      <a:pt x="98" y="34"/>
                      <a:pt x="118" y="38"/>
                      <a:pt x="118" y="59"/>
                    </a:cubicBezTo>
                    <a:cubicBezTo>
                      <a:pt x="118" y="69"/>
                      <a:pt x="114" y="83"/>
                      <a:pt x="77" y="83"/>
                    </a:cubicBezTo>
                    <a:lnTo>
                      <a:pt x="38" y="8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6" name="Freeform 11"/>
              <p:cNvSpPr>
                <a:spLocks/>
              </p:cNvSpPr>
              <p:nvPr/>
            </p:nvSpPr>
            <p:spPr bwMode="auto">
              <a:xfrm>
                <a:off x="738516" y="437296"/>
                <a:ext cx="25777" cy="127448"/>
              </a:xfrm>
              <a:custGeom>
                <a:avLst/>
                <a:gdLst>
                  <a:gd name="T0" fmla="*/ 0 w 38"/>
                  <a:gd name="T1" fmla="*/ 188 h 188"/>
                  <a:gd name="T2" fmla="*/ 38 w 38"/>
                  <a:gd name="T3" fmla="*/ 188 h 188"/>
                  <a:gd name="T4" fmla="*/ 38 w 38"/>
                  <a:gd name="T5" fmla="*/ 12 h 188"/>
                  <a:gd name="T6" fmla="*/ 25 w 38"/>
                  <a:gd name="T7" fmla="*/ 0 h 188"/>
                  <a:gd name="T8" fmla="*/ 13 w 38"/>
                  <a:gd name="T9" fmla="*/ 0 h 188"/>
                  <a:gd name="T10" fmla="*/ 0 w 38"/>
                  <a:gd name="T11" fmla="*/ 12 h 188"/>
                  <a:gd name="T12" fmla="*/ 0 w 38"/>
                  <a:gd name="T13" fmla="*/ 188 h 188"/>
                </a:gdLst>
                <a:ahLst/>
                <a:cxnLst>
                  <a:cxn ang="0">
                    <a:pos x="T0" y="T1"/>
                  </a:cxn>
                  <a:cxn ang="0">
                    <a:pos x="T2" y="T3"/>
                  </a:cxn>
                  <a:cxn ang="0">
                    <a:pos x="T4" y="T5"/>
                  </a:cxn>
                  <a:cxn ang="0">
                    <a:pos x="T6" y="T7"/>
                  </a:cxn>
                  <a:cxn ang="0">
                    <a:pos x="T8" y="T9"/>
                  </a:cxn>
                  <a:cxn ang="0">
                    <a:pos x="T10" y="T11"/>
                  </a:cxn>
                  <a:cxn ang="0">
                    <a:pos x="T12" y="T13"/>
                  </a:cxn>
                </a:cxnLst>
                <a:rect l="0" t="0" r="r" b="b"/>
                <a:pathLst>
                  <a:path w="38" h="188">
                    <a:moveTo>
                      <a:pt x="0" y="188"/>
                    </a:moveTo>
                    <a:cubicBezTo>
                      <a:pt x="38" y="188"/>
                      <a:pt x="38" y="188"/>
                      <a:pt x="38" y="188"/>
                    </a:cubicBezTo>
                    <a:cubicBezTo>
                      <a:pt x="38" y="12"/>
                      <a:pt x="38" y="12"/>
                      <a:pt x="38" y="12"/>
                    </a:cubicBezTo>
                    <a:cubicBezTo>
                      <a:pt x="38" y="5"/>
                      <a:pt x="32" y="0"/>
                      <a:pt x="25" y="0"/>
                    </a:cubicBezTo>
                    <a:cubicBezTo>
                      <a:pt x="13" y="0"/>
                      <a:pt x="13" y="0"/>
                      <a:pt x="13" y="0"/>
                    </a:cubicBezTo>
                    <a:cubicBezTo>
                      <a:pt x="6" y="0"/>
                      <a:pt x="0" y="5"/>
                      <a:pt x="0" y="12"/>
                    </a:cubicBezTo>
                    <a:lnTo>
                      <a:pt x="0" y="1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7" name="Freeform 12"/>
              <p:cNvSpPr>
                <a:spLocks/>
              </p:cNvSpPr>
              <p:nvPr/>
            </p:nvSpPr>
            <p:spPr bwMode="auto">
              <a:xfrm>
                <a:off x="1217394" y="437296"/>
                <a:ext cx="118001" cy="127448"/>
              </a:xfrm>
              <a:custGeom>
                <a:avLst/>
                <a:gdLst>
                  <a:gd name="T0" fmla="*/ 174 w 174"/>
                  <a:gd name="T1" fmla="*/ 188 h 188"/>
                  <a:gd name="T2" fmla="*/ 137 w 174"/>
                  <a:gd name="T3" fmla="*/ 188 h 188"/>
                  <a:gd name="T4" fmla="*/ 137 w 174"/>
                  <a:gd name="T5" fmla="*/ 110 h 188"/>
                  <a:gd name="T6" fmla="*/ 38 w 174"/>
                  <a:gd name="T7" fmla="*/ 110 h 188"/>
                  <a:gd name="T8" fmla="*/ 38 w 174"/>
                  <a:gd name="T9" fmla="*/ 188 h 188"/>
                  <a:gd name="T10" fmla="*/ 0 w 174"/>
                  <a:gd name="T11" fmla="*/ 188 h 188"/>
                  <a:gd name="T12" fmla="*/ 0 w 174"/>
                  <a:gd name="T13" fmla="*/ 12 h 188"/>
                  <a:gd name="T14" fmla="*/ 13 w 174"/>
                  <a:gd name="T15" fmla="*/ 0 h 188"/>
                  <a:gd name="T16" fmla="*/ 25 w 174"/>
                  <a:gd name="T17" fmla="*/ 0 h 188"/>
                  <a:gd name="T18" fmla="*/ 38 w 174"/>
                  <a:gd name="T19" fmla="*/ 12 h 188"/>
                  <a:gd name="T20" fmla="*/ 38 w 174"/>
                  <a:gd name="T21" fmla="*/ 75 h 188"/>
                  <a:gd name="T22" fmla="*/ 137 w 174"/>
                  <a:gd name="T23" fmla="*/ 75 h 188"/>
                  <a:gd name="T24" fmla="*/ 137 w 174"/>
                  <a:gd name="T25" fmla="*/ 12 h 188"/>
                  <a:gd name="T26" fmla="*/ 149 w 174"/>
                  <a:gd name="T27" fmla="*/ 0 h 188"/>
                  <a:gd name="T28" fmla="*/ 162 w 174"/>
                  <a:gd name="T29" fmla="*/ 0 h 188"/>
                  <a:gd name="T30" fmla="*/ 174 w 174"/>
                  <a:gd name="T31" fmla="*/ 12 h 188"/>
                  <a:gd name="T32" fmla="*/ 174 w 174"/>
                  <a:gd name="T33"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4" h="188">
                    <a:moveTo>
                      <a:pt x="174" y="188"/>
                    </a:moveTo>
                    <a:cubicBezTo>
                      <a:pt x="137" y="188"/>
                      <a:pt x="137" y="188"/>
                      <a:pt x="137" y="188"/>
                    </a:cubicBezTo>
                    <a:cubicBezTo>
                      <a:pt x="137" y="110"/>
                      <a:pt x="137" y="110"/>
                      <a:pt x="137" y="110"/>
                    </a:cubicBezTo>
                    <a:cubicBezTo>
                      <a:pt x="38" y="110"/>
                      <a:pt x="38" y="110"/>
                      <a:pt x="38" y="110"/>
                    </a:cubicBezTo>
                    <a:cubicBezTo>
                      <a:pt x="38" y="188"/>
                      <a:pt x="38" y="188"/>
                      <a:pt x="38" y="188"/>
                    </a:cubicBezTo>
                    <a:cubicBezTo>
                      <a:pt x="0" y="188"/>
                      <a:pt x="0" y="188"/>
                      <a:pt x="0" y="188"/>
                    </a:cubicBezTo>
                    <a:cubicBezTo>
                      <a:pt x="0" y="12"/>
                      <a:pt x="0" y="12"/>
                      <a:pt x="0" y="12"/>
                    </a:cubicBezTo>
                    <a:cubicBezTo>
                      <a:pt x="0" y="5"/>
                      <a:pt x="6" y="0"/>
                      <a:pt x="13" y="0"/>
                    </a:cubicBezTo>
                    <a:cubicBezTo>
                      <a:pt x="25" y="0"/>
                      <a:pt x="25" y="0"/>
                      <a:pt x="25" y="0"/>
                    </a:cubicBezTo>
                    <a:cubicBezTo>
                      <a:pt x="32" y="0"/>
                      <a:pt x="38" y="5"/>
                      <a:pt x="38" y="12"/>
                    </a:cubicBezTo>
                    <a:cubicBezTo>
                      <a:pt x="38" y="75"/>
                      <a:pt x="38" y="75"/>
                      <a:pt x="38" y="75"/>
                    </a:cubicBezTo>
                    <a:cubicBezTo>
                      <a:pt x="137" y="75"/>
                      <a:pt x="137" y="75"/>
                      <a:pt x="137" y="75"/>
                    </a:cubicBezTo>
                    <a:cubicBezTo>
                      <a:pt x="137" y="12"/>
                      <a:pt x="137" y="12"/>
                      <a:pt x="137" y="12"/>
                    </a:cubicBezTo>
                    <a:cubicBezTo>
                      <a:pt x="137" y="5"/>
                      <a:pt x="142" y="0"/>
                      <a:pt x="149" y="0"/>
                    </a:cubicBezTo>
                    <a:cubicBezTo>
                      <a:pt x="162" y="0"/>
                      <a:pt x="162" y="0"/>
                      <a:pt x="162" y="0"/>
                    </a:cubicBezTo>
                    <a:cubicBezTo>
                      <a:pt x="169" y="0"/>
                      <a:pt x="174" y="5"/>
                      <a:pt x="174" y="12"/>
                    </a:cubicBezTo>
                    <a:lnTo>
                      <a:pt x="174" y="1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8" name="Freeform 13"/>
              <p:cNvSpPr>
                <a:spLocks/>
              </p:cNvSpPr>
              <p:nvPr/>
            </p:nvSpPr>
            <p:spPr bwMode="auto">
              <a:xfrm>
                <a:off x="1085646" y="435864"/>
                <a:ext cx="108836" cy="130025"/>
              </a:xfrm>
              <a:custGeom>
                <a:avLst/>
                <a:gdLst>
                  <a:gd name="T0" fmla="*/ 90 w 161"/>
                  <a:gd name="T1" fmla="*/ 78 h 192"/>
                  <a:gd name="T2" fmla="*/ 46 w 161"/>
                  <a:gd name="T3" fmla="*/ 56 h 192"/>
                  <a:gd name="T4" fmla="*/ 83 w 161"/>
                  <a:gd name="T5" fmla="*/ 36 h 192"/>
                  <a:gd name="T6" fmla="*/ 139 w 161"/>
                  <a:gd name="T7" fmla="*/ 49 h 192"/>
                  <a:gd name="T8" fmla="*/ 140 w 161"/>
                  <a:gd name="T9" fmla="*/ 49 h 192"/>
                  <a:gd name="T10" fmla="*/ 145 w 161"/>
                  <a:gd name="T11" fmla="*/ 47 h 192"/>
                  <a:gd name="T12" fmla="*/ 156 w 161"/>
                  <a:gd name="T13" fmla="*/ 25 h 192"/>
                  <a:gd name="T14" fmla="*/ 156 w 161"/>
                  <a:gd name="T15" fmla="*/ 23 h 192"/>
                  <a:gd name="T16" fmla="*/ 153 w 161"/>
                  <a:gd name="T17" fmla="*/ 18 h 192"/>
                  <a:gd name="T18" fmla="*/ 152 w 161"/>
                  <a:gd name="T19" fmla="*/ 17 h 192"/>
                  <a:gd name="T20" fmla="*/ 81 w 161"/>
                  <a:gd name="T21" fmla="*/ 0 h 192"/>
                  <a:gd name="T22" fmla="*/ 7 w 161"/>
                  <a:gd name="T23" fmla="*/ 57 h 192"/>
                  <a:gd name="T24" fmla="*/ 25 w 161"/>
                  <a:gd name="T25" fmla="*/ 96 h 192"/>
                  <a:gd name="T26" fmla="*/ 80 w 161"/>
                  <a:gd name="T27" fmla="*/ 113 h 192"/>
                  <a:gd name="T28" fmla="*/ 122 w 161"/>
                  <a:gd name="T29" fmla="*/ 133 h 192"/>
                  <a:gd name="T30" fmla="*/ 78 w 161"/>
                  <a:gd name="T31" fmla="*/ 157 h 192"/>
                  <a:gd name="T32" fmla="*/ 22 w 161"/>
                  <a:gd name="T33" fmla="*/ 142 h 192"/>
                  <a:gd name="T34" fmla="*/ 18 w 161"/>
                  <a:gd name="T35" fmla="*/ 139 h 192"/>
                  <a:gd name="T36" fmla="*/ 15 w 161"/>
                  <a:gd name="T37" fmla="*/ 143 h 192"/>
                  <a:gd name="T38" fmla="*/ 2 w 161"/>
                  <a:gd name="T39" fmla="*/ 166 h 192"/>
                  <a:gd name="T40" fmla="*/ 0 w 161"/>
                  <a:gd name="T41" fmla="*/ 170 h 192"/>
                  <a:gd name="T42" fmla="*/ 4 w 161"/>
                  <a:gd name="T43" fmla="*/ 172 h 192"/>
                  <a:gd name="T44" fmla="*/ 77 w 161"/>
                  <a:gd name="T45" fmla="*/ 192 h 192"/>
                  <a:gd name="T46" fmla="*/ 161 w 161"/>
                  <a:gd name="T47" fmla="*/ 132 h 192"/>
                  <a:gd name="T48" fmla="*/ 90 w 161"/>
                  <a:gd name="T49" fmla="*/ 7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1" h="192">
                    <a:moveTo>
                      <a:pt x="90" y="78"/>
                    </a:moveTo>
                    <a:cubicBezTo>
                      <a:pt x="63" y="74"/>
                      <a:pt x="46" y="71"/>
                      <a:pt x="46" y="56"/>
                    </a:cubicBezTo>
                    <a:cubicBezTo>
                      <a:pt x="46" y="43"/>
                      <a:pt x="60" y="36"/>
                      <a:pt x="83" y="36"/>
                    </a:cubicBezTo>
                    <a:cubicBezTo>
                      <a:pt x="109" y="36"/>
                      <a:pt x="130" y="45"/>
                      <a:pt x="139" y="49"/>
                    </a:cubicBezTo>
                    <a:cubicBezTo>
                      <a:pt x="139" y="49"/>
                      <a:pt x="139" y="49"/>
                      <a:pt x="140" y="49"/>
                    </a:cubicBezTo>
                    <a:cubicBezTo>
                      <a:pt x="142" y="49"/>
                      <a:pt x="144" y="49"/>
                      <a:pt x="145" y="47"/>
                    </a:cubicBezTo>
                    <a:cubicBezTo>
                      <a:pt x="156" y="25"/>
                      <a:pt x="156" y="25"/>
                      <a:pt x="156" y="25"/>
                    </a:cubicBezTo>
                    <a:cubicBezTo>
                      <a:pt x="156" y="24"/>
                      <a:pt x="156" y="23"/>
                      <a:pt x="156" y="23"/>
                    </a:cubicBezTo>
                    <a:cubicBezTo>
                      <a:pt x="156" y="21"/>
                      <a:pt x="155" y="19"/>
                      <a:pt x="153" y="18"/>
                    </a:cubicBezTo>
                    <a:cubicBezTo>
                      <a:pt x="152" y="17"/>
                      <a:pt x="152" y="17"/>
                      <a:pt x="152" y="17"/>
                    </a:cubicBezTo>
                    <a:cubicBezTo>
                      <a:pt x="133" y="7"/>
                      <a:pt x="106" y="0"/>
                      <a:pt x="81" y="0"/>
                    </a:cubicBezTo>
                    <a:cubicBezTo>
                      <a:pt x="35" y="0"/>
                      <a:pt x="7" y="22"/>
                      <a:pt x="7" y="57"/>
                    </a:cubicBezTo>
                    <a:cubicBezTo>
                      <a:pt x="7" y="75"/>
                      <a:pt x="13" y="87"/>
                      <a:pt x="25" y="96"/>
                    </a:cubicBezTo>
                    <a:cubicBezTo>
                      <a:pt x="40" y="107"/>
                      <a:pt x="61" y="110"/>
                      <a:pt x="80" y="113"/>
                    </a:cubicBezTo>
                    <a:cubicBezTo>
                      <a:pt x="106" y="117"/>
                      <a:pt x="122" y="119"/>
                      <a:pt x="122" y="133"/>
                    </a:cubicBezTo>
                    <a:cubicBezTo>
                      <a:pt x="122" y="155"/>
                      <a:pt x="91" y="157"/>
                      <a:pt x="78" y="157"/>
                    </a:cubicBezTo>
                    <a:cubicBezTo>
                      <a:pt x="57" y="157"/>
                      <a:pt x="38" y="152"/>
                      <a:pt x="22" y="142"/>
                    </a:cubicBezTo>
                    <a:cubicBezTo>
                      <a:pt x="18" y="139"/>
                      <a:pt x="18" y="139"/>
                      <a:pt x="18" y="139"/>
                    </a:cubicBezTo>
                    <a:cubicBezTo>
                      <a:pt x="15" y="143"/>
                      <a:pt x="15" y="143"/>
                      <a:pt x="15" y="143"/>
                    </a:cubicBezTo>
                    <a:cubicBezTo>
                      <a:pt x="2" y="166"/>
                      <a:pt x="2" y="166"/>
                      <a:pt x="2" y="166"/>
                    </a:cubicBezTo>
                    <a:cubicBezTo>
                      <a:pt x="0" y="170"/>
                      <a:pt x="0" y="170"/>
                      <a:pt x="0" y="170"/>
                    </a:cubicBezTo>
                    <a:cubicBezTo>
                      <a:pt x="4" y="172"/>
                      <a:pt x="4" y="172"/>
                      <a:pt x="4" y="172"/>
                    </a:cubicBezTo>
                    <a:cubicBezTo>
                      <a:pt x="18" y="181"/>
                      <a:pt x="42" y="192"/>
                      <a:pt x="77" y="192"/>
                    </a:cubicBezTo>
                    <a:cubicBezTo>
                      <a:pt x="128" y="192"/>
                      <a:pt x="161" y="169"/>
                      <a:pt x="161" y="132"/>
                    </a:cubicBezTo>
                    <a:cubicBezTo>
                      <a:pt x="161" y="88"/>
                      <a:pt x="122" y="82"/>
                      <a:pt x="90" y="7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9" name="Freeform 14"/>
              <p:cNvSpPr>
                <a:spLocks/>
              </p:cNvSpPr>
              <p:nvPr/>
            </p:nvSpPr>
            <p:spPr bwMode="auto">
              <a:xfrm>
                <a:off x="1642427" y="437296"/>
                <a:ext cx="93943" cy="127448"/>
              </a:xfrm>
              <a:custGeom>
                <a:avLst/>
                <a:gdLst>
                  <a:gd name="T0" fmla="*/ 128 w 139"/>
                  <a:gd name="T1" fmla="*/ 103 h 188"/>
                  <a:gd name="T2" fmla="*/ 121 w 139"/>
                  <a:gd name="T3" fmla="*/ 110 h 188"/>
                  <a:gd name="T4" fmla="*/ 38 w 139"/>
                  <a:gd name="T5" fmla="*/ 110 h 188"/>
                  <a:gd name="T6" fmla="*/ 38 w 139"/>
                  <a:gd name="T7" fmla="*/ 153 h 188"/>
                  <a:gd name="T8" fmla="*/ 139 w 139"/>
                  <a:gd name="T9" fmla="*/ 153 h 188"/>
                  <a:gd name="T10" fmla="*/ 139 w 139"/>
                  <a:gd name="T11" fmla="*/ 188 h 188"/>
                  <a:gd name="T12" fmla="*/ 0 w 139"/>
                  <a:gd name="T13" fmla="*/ 188 h 188"/>
                  <a:gd name="T14" fmla="*/ 0 w 139"/>
                  <a:gd name="T15" fmla="*/ 18 h 188"/>
                  <a:gd name="T16" fmla="*/ 19 w 139"/>
                  <a:gd name="T17" fmla="*/ 0 h 188"/>
                  <a:gd name="T18" fmla="*/ 130 w 139"/>
                  <a:gd name="T19" fmla="*/ 0 h 188"/>
                  <a:gd name="T20" fmla="*/ 137 w 139"/>
                  <a:gd name="T21" fmla="*/ 6 h 188"/>
                  <a:gd name="T22" fmla="*/ 137 w 139"/>
                  <a:gd name="T23" fmla="*/ 27 h 188"/>
                  <a:gd name="T24" fmla="*/ 130 w 139"/>
                  <a:gd name="T25" fmla="*/ 34 h 188"/>
                  <a:gd name="T26" fmla="*/ 38 w 139"/>
                  <a:gd name="T27" fmla="*/ 34 h 188"/>
                  <a:gd name="T28" fmla="*/ 38 w 139"/>
                  <a:gd name="T29" fmla="*/ 75 h 188"/>
                  <a:gd name="T30" fmla="*/ 121 w 139"/>
                  <a:gd name="T31" fmla="*/ 75 h 188"/>
                  <a:gd name="T32" fmla="*/ 128 w 139"/>
                  <a:gd name="T33" fmla="*/ 82 h 188"/>
                  <a:gd name="T34" fmla="*/ 128 w 139"/>
                  <a:gd name="T35" fmla="*/ 103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188">
                    <a:moveTo>
                      <a:pt x="128" y="103"/>
                    </a:moveTo>
                    <a:cubicBezTo>
                      <a:pt x="128" y="107"/>
                      <a:pt x="124" y="110"/>
                      <a:pt x="121" y="110"/>
                    </a:cubicBezTo>
                    <a:cubicBezTo>
                      <a:pt x="38" y="110"/>
                      <a:pt x="38" y="110"/>
                      <a:pt x="38" y="110"/>
                    </a:cubicBezTo>
                    <a:cubicBezTo>
                      <a:pt x="38" y="153"/>
                      <a:pt x="38" y="153"/>
                      <a:pt x="38" y="153"/>
                    </a:cubicBezTo>
                    <a:cubicBezTo>
                      <a:pt x="139" y="153"/>
                      <a:pt x="139" y="153"/>
                      <a:pt x="139" y="153"/>
                    </a:cubicBezTo>
                    <a:cubicBezTo>
                      <a:pt x="139" y="188"/>
                      <a:pt x="139" y="188"/>
                      <a:pt x="139" y="188"/>
                    </a:cubicBezTo>
                    <a:cubicBezTo>
                      <a:pt x="0" y="188"/>
                      <a:pt x="0" y="188"/>
                      <a:pt x="0" y="188"/>
                    </a:cubicBezTo>
                    <a:cubicBezTo>
                      <a:pt x="0" y="18"/>
                      <a:pt x="0" y="18"/>
                      <a:pt x="0" y="18"/>
                    </a:cubicBezTo>
                    <a:cubicBezTo>
                      <a:pt x="0" y="8"/>
                      <a:pt x="9" y="0"/>
                      <a:pt x="19" y="0"/>
                    </a:cubicBezTo>
                    <a:cubicBezTo>
                      <a:pt x="130" y="0"/>
                      <a:pt x="130" y="0"/>
                      <a:pt x="130" y="0"/>
                    </a:cubicBezTo>
                    <a:cubicBezTo>
                      <a:pt x="134" y="0"/>
                      <a:pt x="137" y="2"/>
                      <a:pt x="137" y="6"/>
                    </a:cubicBezTo>
                    <a:cubicBezTo>
                      <a:pt x="137" y="27"/>
                      <a:pt x="137" y="27"/>
                      <a:pt x="137" y="27"/>
                    </a:cubicBezTo>
                    <a:cubicBezTo>
                      <a:pt x="137" y="32"/>
                      <a:pt x="134" y="34"/>
                      <a:pt x="130" y="34"/>
                    </a:cubicBezTo>
                    <a:cubicBezTo>
                      <a:pt x="38" y="34"/>
                      <a:pt x="38" y="34"/>
                      <a:pt x="38" y="34"/>
                    </a:cubicBezTo>
                    <a:cubicBezTo>
                      <a:pt x="38" y="75"/>
                      <a:pt x="38" y="75"/>
                      <a:pt x="38" y="75"/>
                    </a:cubicBezTo>
                    <a:cubicBezTo>
                      <a:pt x="121" y="75"/>
                      <a:pt x="121" y="75"/>
                      <a:pt x="121" y="75"/>
                    </a:cubicBezTo>
                    <a:cubicBezTo>
                      <a:pt x="124" y="75"/>
                      <a:pt x="128" y="77"/>
                      <a:pt x="128" y="82"/>
                    </a:cubicBezTo>
                    <a:lnTo>
                      <a:pt x="128" y="10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grpSp>
      </p:grpSp>
      <p:grpSp>
        <p:nvGrpSpPr>
          <p:cNvPr id="18" name="Mindshare Business Planning"/>
          <p:cNvGrpSpPr>
            <a:grpSpLocks noChangeAspect="1"/>
          </p:cNvGrpSpPr>
          <p:nvPr userDrawn="1"/>
        </p:nvGrpSpPr>
        <p:grpSpPr>
          <a:xfrm>
            <a:off x="2209800" y="368300"/>
            <a:ext cx="1933420" cy="130025"/>
            <a:chOff x="3276602" y="4568783"/>
            <a:chExt cx="4060837" cy="273095"/>
          </a:xfrm>
        </p:grpSpPr>
        <p:sp>
          <p:nvSpPr>
            <p:cNvPr id="19" name="AutoShape 22"/>
            <p:cNvSpPr>
              <a:spLocks noChangeAspect="1" noChangeArrowheads="1" noTextEdit="1"/>
            </p:cNvSpPr>
            <p:nvPr/>
          </p:nvSpPr>
          <p:spPr bwMode="auto">
            <a:xfrm>
              <a:off x="3276610" y="4571983"/>
              <a:ext cx="4060829" cy="26987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24"/>
            <p:cNvSpPr>
              <a:spLocks noEditPoints="1"/>
            </p:cNvSpPr>
            <p:nvPr/>
          </p:nvSpPr>
          <p:spPr bwMode="auto">
            <a:xfrm>
              <a:off x="5765810" y="4568811"/>
              <a:ext cx="296863" cy="269873"/>
            </a:xfrm>
            <a:custGeom>
              <a:avLst/>
              <a:gdLst/>
              <a:ahLst/>
              <a:cxnLst>
                <a:cxn ang="0">
                  <a:pos x="0" y="69"/>
                </a:cxn>
                <a:cxn ang="0">
                  <a:pos x="15" y="69"/>
                </a:cxn>
                <a:cxn ang="0">
                  <a:pos x="24" y="50"/>
                </a:cxn>
                <a:cxn ang="0">
                  <a:pos x="54" y="50"/>
                </a:cxn>
                <a:cxn ang="0">
                  <a:pos x="63" y="69"/>
                </a:cxn>
                <a:cxn ang="0">
                  <a:pos x="79" y="69"/>
                </a:cxn>
                <a:cxn ang="0">
                  <a:pos x="45" y="3"/>
                </a:cxn>
                <a:cxn ang="0">
                  <a:pos x="39" y="0"/>
                </a:cxn>
                <a:cxn ang="0">
                  <a:pos x="39" y="0"/>
                </a:cxn>
                <a:cxn ang="0">
                  <a:pos x="32" y="3"/>
                </a:cxn>
                <a:cxn ang="0">
                  <a:pos x="0" y="69"/>
                </a:cxn>
                <a:cxn ang="0">
                  <a:pos x="39" y="20"/>
                </a:cxn>
                <a:cxn ang="0">
                  <a:pos x="48" y="39"/>
                </a:cxn>
                <a:cxn ang="0">
                  <a:pos x="29" y="39"/>
                </a:cxn>
                <a:cxn ang="0">
                  <a:pos x="39" y="20"/>
                </a:cxn>
              </a:cxnLst>
              <a:rect l="0" t="0" r="r" b="b"/>
              <a:pathLst>
                <a:path w="79" h="69">
                  <a:moveTo>
                    <a:pt x="0" y="69"/>
                  </a:moveTo>
                  <a:cubicBezTo>
                    <a:pt x="15" y="69"/>
                    <a:pt x="15" y="69"/>
                    <a:pt x="15" y="69"/>
                  </a:cubicBezTo>
                  <a:cubicBezTo>
                    <a:pt x="24" y="50"/>
                    <a:pt x="24" y="50"/>
                    <a:pt x="24" y="50"/>
                  </a:cubicBezTo>
                  <a:cubicBezTo>
                    <a:pt x="54" y="50"/>
                    <a:pt x="54" y="50"/>
                    <a:pt x="54" y="50"/>
                  </a:cubicBezTo>
                  <a:cubicBezTo>
                    <a:pt x="63" y="69"/>
                    <a:pt x="63" y="69"/>
                    <a:pt x="63" y="69"/>
                  </a:cubicBezTo>
                  <a:cubicBezTo>
                    <a:pt x="79" y="69"/>
                    <a:pt x="79" y="69"/>
                    <a:pt x="79" y="69"/>
                  </a:cubicBezTo>
                  <a:cubicBezTo>
                    <a:pt x="45" y="3"/>
                    <a:pt x="45" y="3"/>
                    <a:pt x="45" y="3"/>
                  </a:cubicBezTo>
                  <a:cubicBezTo>
                    <a:pt x="44" y="1"/>
                    <a:pt x="41" y="0"/>
                    <a:pt x="39" y="0"/>
                  </a:cubicBezTo>
                  <a:cubicBezTo>
                    <a:pt x="39" y="0"/>
                    <a:pt x="39" y="0"/>
                    <a:pt x="39" y="0"/>
                  </a:cubicBezTo>
                  <a:cubicBezTo>
                    <a:pt x="36" y="0"/>
                    <a:pt x="34" y="1"/>
                    <a:pt x="32" y="3"/>
                  </a:cubicBezTo>
                  <a:lnTo>
                    <a:pt x="0" y="69"/>
                  </a:lnTo>
                  <a:close/>
                  <a:moveTo>
                    <a:pt x="39" y="20"/>
                  </a:moveTo>
                  <a:cubicBezTo>
                    <a:pt x="48" y="39"/>
                    <a:pt x="48" y="39"/>
                    <a:pt x="48" y="39"/>
                  </a:cubicBezTo>
                  <a:cubicBezTo>
                    <a:pt x="29" y="39"/>
                    <a:pt x="29" y="39"/>
                    <a:pt x="29" y="39"/>
                  </a:cubicBezTo>
                  <a:lnTo>
                    <a:pt x="39" y="20"/>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1" name="Freeform 25"/>
            <p:cNvSpPr>
              <a:spLocks/>
            </p:cNvSpPr>
            <p:nvPr/>
          </p:nvSpPr>
          <p:spPr bwMode="auto">
            <a:xfrm>
              <a:off x="4483112" y="4568809"/>
              <a:ext cx="188913" cy="269873"/>
            </a:xfrm>
            <a:custGeom>
              <a:avLst/>
              <a:gdLst/>
              <a:ahLst/>
              <a:cxnLst>
                <a:cxn ang="0">
                  <a:pos x="47" y="38"/>
                </a:cxn>
                <a:cxn ang="0">
                  <a:pos x="44" y="40"/>
                </a:cxn>
                <a:cxn ang="0">
                  <a:pos x="14" y="40"/>
                </a:cxn>
                <a:cxn ang="0">
                  <a:pos x="14" y="56"/>
                </a:cxn>
                <a:cxn ang="0">
                  <a:pos x="50" y="56"/>
                </a:cxn>
                <a:cxn ang="0">
                  <a:pos x="50" y="69"/>
                </a:cxn>
                <a:cxn ang="0">
                  <a:pos x="0" y="69"/>
                </a:cxn>
                <a:cxn ang="0">
                  <a:pos x="0" y="7"/>
                </a:cxn>
                <a:cxn ang="0">
                  <a:pos x="7" y="0"/>
                </a:cxn>
                <a:cxn ang="0">
                  <a:pos x="47" y="0"/>
                </a:cxn>
                <a:cxn ang="0">
                  <a:pos x="50" y="3"/>
                </a:cxn>
                <a:cxn ang="0">
                  <a:pos x="50" y="10"/>
                </a:cxn>
                <a:cxn ang="0">
                  <a:pos x="47" y="13"/>
                </a:cxn>
                <a:cxn ang="0">
                  <a:pos x="14" y="13"/>
                </a:cxn>
                <a:cxn ang="0">
                  <a:pos x="14" y="28"/>
                </a:cxn>
                <a:cxn ang="0">
                  <a:pos x="44" y="28"/>
                </a:cxn>
                <a:cxn ang="0">
                  <a:pos x="47" y="30"/>
                </a:cxn>
                <a:cxn ang="0">
                  <a:pos x="47" y="38"/>
                </a:cxn>
              </a:cxnLst>
              <a:rect l="0" t="0" r="r" b="b"/>
              <a:pathLst>
                <a:path w="50" h="69">
                  <a:moveTo>
                    <a:pt x="47" y="38"/>
                  </a:moveTo>
                  <a:cubicBezTo>
                    <a:pt x="47" y="39"/>
                    <a:pt x="45" y="40"/>
                    <a:pt x="44" y="40"/>
                  </a:cubicBezTo>
                  <a:cubicBezTo>
                    <a:pt x="14" y="40"/>
                    <a:pt x="14" y="40"/>
                    <a:pt x="14" y="40"/>
                  </a:cubicBezTo>
                  <a:cubicBezTo>
                    <a:pt x="14" y="56"/>
                    <a:pt x="14" y="56"/>
                    <a:pt x="14" y="56"/>
                  </a:cubicBezTo>
                  <a:cubicBezTo>
                    <a:pt x="50" y="56"/>
                    <a:pt x="50" y="56"/>
                    <a:pt x="50" y="56"/>
                  </a:cubicBezTo>
                  <a:cubicBezTo>
                    <a:pt x="50" y="69"/>
                    <a:pt x="50" y="69"/>
                    <a:pt x="50" y="69"/>
                  </a:cubicBezTo>
                  <a:cubicBezTo>
                    <a:pt x="0" y="69"/>
                    <a:pt x="0" y="69"/>
                    <a:pt x="0" y="69"/>
                  </a:cubicBezTo>
                  <a:cubicBezTo>
                    <a:pt x="0" y="7"/>
                    <a:pt x="0" y="7"/>
                    <a:pt x="0" y="7"/>
                  </a:cubicBezTo>
                  <a:cubicBezTo>
                    <a:pt x="0" y="3"/>
                    <a:pt x="3" y="0"/>
                    <a:pt x="7" y="0"/>
                  </a:cubicBezTo>
                  <a:cubicBezTo>
                    <a:pt x="47" y="0"/>
                    <a:pt x="47" y="0"/>
                    <a:pt x="47" y="0"/>
                  </a:cubicBezTo>
                  <a:cubicBezTo>
                    <a:pt x="49" y="0"/>
                    <a:pt x="50" y="1"/>
                    <a:pt x="50" y="3"/>
                  </a:cubicBezTo>
                  <a:cubicBezTo>
                    <a:pt x="50" y="10"/>
                    <a:pt x="50" y="10"/>
                    <a:pt x="50" y="10"/>
                  </a:cubicBezTo>
                  <a:cubicBezTo>
                    <a:pt x="50" y="12"/>
                    <a:pt x="49" y="13"/>
                    <a:pt x="47" y="13"/>
                  </a:cubicBezTo>
                  <a:cubicBezTo>
                    <a:pt x="14" y="13"/>
                    <a:pt x="14" y="13"/>
                    <a:pt x="14" y="13"/>
                  </a:cubicBezTo>
                  <a:cubicBezTo>
                    <a:pt x="14" y="28"/>
                    <a:pt x="14" y="28"/>
                    <a:pt x="14" y="28"/>
                  </a:cubicBezTo>
                  <a:cubicBezTo>
                    <a:pt x="44" y="28"/>
                    <a:pt x="44" y="28"/>
                    <a:pt x="44" y="28"/>
                  </a:cubicBezTo>
                  <a:cubicBezTo>
                    <a:pt x="45" y="28"/>
                    <a:pt x="47" y="29"/>
                    <a:pt x="47" y="30"/>
                  </a:cubicBezTo>
                  <a:lnTo>
                    <a:pt x="47" y="3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2" name="Freeform 26"/>
            <p:cNvSpPr>
              <a:spLocks/>
            </p:cNvSpPr>
            <p:nvPr/>
          </p:nvSpPr>
          <p:spPr bwMode="auto">
            <a:xfrm>
              <a:off x="6686560" y="4568783"/>
              <a:ext cx="52387" cy="269872"/>
            </a:xfrm>
            <a:custGeom>
              <a:avLst/>
              <a:gdLst/>
              <a:ahLst/>
              <a:cxnLst>
                <a:cxn ang="0">
                  <a:pos x="0" y="69"/>
                </a:cxn>
                <a:cxn ang="0">
                  <a:pos x="14" y="69"/>
                </a:cxn>
                <a:cxn ang="0">
                  <a:pos x="14" y="5"/>
                </a:cxn>
                <a:cxn ang="0">
                  <a:pos x="9" y="0"/>
                </a:cxn>
                <a:cxn ang="0">
                  <a:pos x="4" y="0"/>
                </a:cxn>
                <a:cxn ang="0">
                  <a:pos x="0" y="5"/>
                </a:cxn>
                <a:cxn ang="0">
                  <a:pos x="0" y="69"/>
                </a:cxn>
              </a:cxnLst>
              <a:rect l="0" t="0" r="r" b="b"/>
              <a:pathLst>
                <a:path w="14" h="69">
                  <a:moveTo>
                    <a:pt x="0" y="69"/>
                  </a:moveTo>
                  <a:cubicBezTo>
                    <a:pt x="14" y="69"/>
                    <a:pt x="14" y="69"/>
                    <a:pt x="14" y="69"/>
                  </a:cubicBezTo>
                  <a:cubicBezTo>
                    <a:pt x="14" y="5"/>
                    <a:pt x="14" y="5"/>
                    <a:pt x="14" y="5"/>
                  </a:cubicBezTo>
                  <a:cubicBezTo>
                    <a:pt x="14" y="2"/>
                    <a:pt x="12" y="0"/>
                    <a:pt x="9" y="0"/>
                  </a:cubicBezTo>
                  <a:cubicBezTo>
                    <a:pt x="4" y="0"/>
                    <a:pt x="4" y="0"/>
                    <a:pt x="4" y="0"/>
                  </a:cubicBezTo>
                  <a:cubicBezTo>
                    <a:pt x="2" y="0"/>
                    <a:pt x="0" y="2"/>
                    <a:pt x="0" y="5"/>
                  </a:cubicBezTo>
                  <a:lnTo>
                    <a:pt x="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3" name="Freeform 27"/>
            <p:cNvSpPr>
              <a:spLocks/>
            </p:cNvSpPr>
            <p:nvPr/>
          </p:nvSpPr>
          <p:spPr bwMode="auto">
            <a:xfrm>
              <a:off x="4081469" y="4568801"/>
              <a:ext cx="49212" cy="269873"/>
            </a:xfrm>
            <a:custGeom>
              <a:avLst/>
              <a:gdLst/>
              <a:ahLst/>
              <a:cxnLst>
                <a:cxn ang="0">
                  <a:pos x="0" y="69"/>
                </a:cxn>
                <a:cxn ang="0">
                  <a:pos x="13" y="69"/>
                </a:cxn>
                <a:cxn ang="0">
                  <a:pos x="13" y="5"/>
                </a:cxn>
                <a:cxn ang="0">
                  <a:pos x="9" y="0"/>
                </a:cxn>
                <a:cxn ang="0">
                  <a:pos x="4" y="0"/>
                </a:cxn>
                <a:cxn ang="0">
                  <a:pos x="0" y="5"/>
                </a:cxn>
                <a:cxn ang="0">
                  <a:pos x="0" y="69"/>
                </a:cxn>
              </a:cxnLst>
              <a:rect l="0" t="0" r="r" b="b"/>
              <a:pathLst>
                <a:path w="13" h="69">
                  <a:moveTo>
                    <a:pt x="0" y="69"/>
                  </a:moveTo>
                  <a:cubicBezTo>
                    <a:pt x="13" y="69"/>
                    <a:pt x="13" y="69"/>
                    <a:pt x="13" y="69"/>
                  </a:cubicBezTo>
                  <a:cubicBezTo>
                    <a:pt x="13" y="5"/>
                    <a:pt x="13" y="5"/>
                    <a:pt x="13" y="5"/>
                  </a:cubicBezTo>
                  <a:cubicBezTo>
                    <a:pt x="13" y="2"/>
                    <a:pt x="11" y="0"/>
                    <a:pt x="9" y="0"/>
                  </a:cubicBezTo>
                  <a:cubicBezTo>
                    <a:pt x="4" y="0"/>
                    <a:pt x="4" y="0"/>
                    <a:pt x="4" y="0"/>
                  </a:cubicBezTo>
                  <a:cubicBezTo>
                    <a:pt x="2" y="0"/>
                    <a:pt x="0" y="2"/>
                    <a:pt x="0" y="5"/>
                  </a:cubicBezTo>
                  <a:lnTo>
                    <a:pt x="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4" name="Freeform 28"/>
            <p:cNvSpPr>
              <a:spLocks/>
            </p:cNvSpPr>
            <p:nvPr/>
          </p:nvSpPr>
          <p:spPr bwMode="auto">
            <a:xfrm>
              <a:off x="6777048" y="4568803"/>
              <a:ext cx="263527" cy="269873"/>
            </a:xfrm>
            <a:custGeom>
              <a:avLst/>
              <a:gdLst/>
              <a:ahLst/>
              <a:cxnLst>
                <a:cxn ang="0">
                  <a:pos x="70" y="69"/>
                </a:cxn>
                <a:cxn ang="0">
                  <a:pos x="60" y="69"/>
                </a:cxn>
                <a:cxn ang="0">
                  <a:pos x="14" y="23"/>
                </a:cxn>
                <a:cxn ang="0">
                  <a:pos x="14" y="69"/>
                </a:cxn>
                <a:cxn ang="0">
                  <a:pos x="0" y="69"/>
                </a:cxn>
                <a:cxn ang="0">
                  <a:pos x="0" y="8"/>
                </a:cxn>
                <a:cxn ang="0">
                  <a:pos x="7" y="0"/>
                </a:cxn>
                <a:cxn ang="0">
                  <a:pos x="7" y="0"/>
                </a:cxn>
                <a:cxn ang="0">
                  <a:pos x="13" y="2"/>
                </a:cxn>
                <a:cxn ang="0">
                  <a:pos x="56" y="45"/>
                </a:cxn>
                <a:cxn ang="0">
                  <a:pos x="56" y="5"/>
                </a:cxn>
                <a:cxn ang="0">
                  <a:pos x="60" y="0"/>
                </a:cxn>
                <a:cxn ang="0">
                  <a:pos x="65" y="0"/>
                </a:cxn>
                <a:cxn ang="0">
                  <a:pos x="70" y="5"/>
                </a:cxn>
                <a:cxn ang="0">
                  <a:pos x="70" y="69"/>
                </a:cxn>
              </a:cxnLst>
              <a:rect l="0" t="0" r="r" b="b"/>
              <a:pathLst>
                <a:path w="70" h="69">
                  <a:moveTo>
                    <a:pt x="70" y="69"/>
                  </a:moveTo>
                  <a:cubicBezTo>
                    <a:pt x="60" y="69"/>
                    <a:pt x="60" y="69"/>
                    <a:pt x="60" y="69"/>
                  </a:cubicBezTo>
                  <a:cubicBezTo>
                    <a:pt x="14" y="23"/>
                    <a:pt x="14" y="23"/>
                    <a:pt x="14" y="23"/>
                  </a:cubicBezTo>
                  <a:cubicBezTo>
                    <a:pt x="14" y="69"/>
                    <a:pt x="14" y="69"/>
                    <a:pt x="14" y="69"/>
                  </a:cubicBezTo>
                  <a:cubicBezTo>
                    <a:pt x="0" y="69"/>
                    <a:pt x="0" y="69"/>
                    <a:pt x="0" y="69"/>
                  </a:cubicBezTo>
                  <a:cubicBezTo>
                    <a:pt x="0" y="8"/>
                    <a:pt x="0" y="8"/>
                    <a:pt x="0" y="8"/>
                  </a:cubicBezTo>
                  <a:cubicBezTo>
                    <a:pt x="0" y="3"/>
                    <a:pt x="3" y="0"/>
                    <a:pt x="7" y="0"/>
                  </a:cubicBezTo>
                  <a:cubicBezTo>
                    <a:pt x="7" y="0"/>
                    <a:pt x="7" y="0"/>
                    <a:pt x="7" y="0"/>
                  </a:cubicBezTo>
                  <a:cubicBezTo>
                    <a:pt x="10" y="0"/>
                    <a:pt x="12" y="1"/>
                    <a:pt x="13" y="2"/>
                  </a:cubicBezTo>
                  <a:cubicBezTo>
                    <a:pt x="56" y="45"/>
                    <a:pt x="56" y="45"/>
                    <a:pt x="56" y="45"/>
                  </a:cubicBezTo>
                  <a:cubicBezTo>
                    <a:pt x="56" y="5"/>
                    <a:pt x="56" y="5"/>
                    <a:pt x="56" y="5"/>
                  </a:cubicBezTo>
                  <a:cubicBezTo>
                    <a:pt x="56" y="2"/>
                    <a:pt x="58" y="0"/>
                    <a:pt x="60" y="0"/>
                  </a:cubicBezTo>
                  <a:cubicBezTo>
                    <a:pt x="65" y="0"/>
                    <a:pt x="65" y="0"/>
                    <a:pt x="65" y="0"/>
                  </a:cubicBezTo>
                  <a:cubicBezTo>
                    <a:pt x="67" y="0"/>
                    <a:pt x="70" y="2"/>
                    <a:pt x="70" y="5"/>
                  </a:cubicBezTo>
                  <a:lnTo>
                    <a:pt x="7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5" name="Freeform 29"/>
            <p:cNvSpPr>
              <a:spLocks/>
            </p:cNvSpPr>
            <p:nvPr/>
          </p:nvSpPr>
          <p:spPr bwMode="auto">
            <a:xfrm>
              <a:off x="6381758" y="4568803"/>
              <a:ext cx="263527" cy="269873"/>
            </a:xfrm>
            <a:custGeom>
              <a:avLst/>
              <a:gdLst/>
              <a:ahLst/>
              <a:cxnLst>
                <a:cxn ang="0">
                  <a:pos x="70" y="69"/>
                </a:cxn>
                <a:cxn ang="0">
                  <a:pos x="60" y="69"/>
                </a:cxn>
                <a:cxn ang="0">
                  <a:pos x="14" y="23"/>
                </a:cxn>
                <a:cxn ang="0">
                  <a:pos x="14" y="69"/>
                </a:cxn>
                <a:cxn ang="0">
                  <a:pos x="0" y="69"/>
                </a:cxn>
                <a:cxn ang="0">
                  <a:pos x="0" y="8"/>
                </a:cxn>
                <a:cxn ang="0">
                  <a:pos x="8" y="0"/>
                </a:cxn>
                <a:cxn ang="0">
                  <a:pos x="8" y="0"/>
                </a:cxn>
                <a:cxn ang="0">
                  <a:pos x="13" y="2"/>
                </a:cxn>
                <a:cxn ang="0">
                  <a:pos x="56" y="45"/>
                </a:cxn>
                <a:cxn ang="0">
                  <a:pos x="56" y="5"/>
                </a:cxn>
                <a:cxn ang="0">
                  <a:pos x="61" y="0"/>
                </a:cxn>
                <a:cxn ang="0">
                  <a:pos x="65" y="0"/>
                </a:cxn>
                <a:cxn ang="0">
                  <a:pos x="70" y="5"/>
                </a:cxn>
                <a:cxn ang="0">
                  <a:pos x="70" y="69"/>
                </a:cxn>
              </a:cxnLst>
              <a:rect l="0" t="0" r="r" b="b"/>
              <a:pathLst>
                <a:path w="70" h="69">
                  <a:moveTo>
                    <a:pt x="70" y="69"/>
                  </a:moveTo>
                  <a:cubicBezTo>
                    <a:pt x="60" y="69"/>
                    <a:pt x="60" y="69"/>
                    <a:pt x="60" y="69"/>
                  </a:cubicBezTo>
                  <a:cubicBezTo>
                    <a:pt x="14" y="23"/>
                    <a:pt x="14" y="23"/>
                    <a:pt x="14" y="23"/>
                  </a:cubicBezTo>
                  <a:cubicBezTo>
                    <a:pt x="14" y="69"/>
                    <a:pt x="14" y="69"/>
                    <a:pt x="14" y="69"/>
                  </a:cubicBezTo>
                  <a:cubicBezTo>
                    <a:pt x="0" y="69"/>
                    <a:pt x="0" y="69"/>
                    <a:pt x="0" y="69"/>
                  </a:cubicBezTo>
                  <a:cubicBezTo>
                    <a:pt x="0" y="8"/>
                    <a:pt x="0" y="8"/>
                    <a:pt x="0" y="8"/>
                  </a:cubicBezTo>
                  <a:cubicBezTo>
                    <a:pt x="0" y="3"/>
                    <a:pt x="4" y="0"/>
                    <a:pt x="8" y="0"/>
                  </a:cubicBezTo>
                  <a:cubicBezTo>
                    <a:pt x="8" y="0"/>
                    <a:pt x="8" y="0"/>
                    <a:pt x="8" y="0"/>
                  </a:cubicBezTo>
                  <a:cubicBezTo>
                    <a:pt x="10" y="0"/>
                    <a:pt x="12" y="1"/>
                    <a:pt x="13" y="2"/>
                  </a:cubicBezTo>
                  <a:cubicBezTo>
                    <a:pt x="56" y="45"/>
                    <a:pt x="56" y="45"/>
                    <a:pt x="56" y="45"/>
                  </a:cubicBezTo>
                  <a:cubicBezTo>
                    <a:pt x="56" y="5"/>
                    <a:pt x="56" y="5"/>
                    <a:pt x="56" y="5"/>
                  </a:cubicBezTo>
                  <a:cubicBezTo>
                    <a:pt x="56" y="2"/>
                    <a:pt x="58" y="0"/>
                    <a:pt x="61" y="0"/>
                  </a:cubicBezTo>
                  <a:cubicBezTo>
                    <a:pt x="65" y="0"/>
                    <a:pt x="65" y="0"/>
                    <a:pt x="65" y="0"/>
                  </a:cubicBezTo>
                  <a:cubicBezTo>
                    <a:pt x="68" y="0"/>
                    <a:pt x="70" y="2"/>
                    <a:pt x="70" y="5"/>
                  </a:cubicBezTo>
                  <a:lnTo>
                    <a:pt x="7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6" name="Freeform 30"/>
            <p:cNvSpPr>
              <a:spLocks/>
            </p:cNvSpPr>
            <p:nvPr/>
          </p:nvSpPr>
          <p:spPr bwMode="auto">
            <a:xfrm>
              <a:off x="6084896" y="4568805"/>
              <a:ext cx="260351" cy="269873"/>
            </a:xfrm>
            <a:custGeom>
              <a:avLst/>
              <a:gdLst/>
              <a:ahLst/>
              <a:cxnLst>
                <a:cxn ang="0">
                  <a:pos x="69" y="69"/>
                </a:cxn>
                <a:cxn ang="0">
                  <a:pos x="59" y="69"/>
                </a:cxn>
                <a:cxn ang="0">
                  <a:pos x="14" y="23"/>
                </a:cxn>
                <a:cxn ang="0">
                  <a:pos x="14" y="69"/>
                </a:cxn>
                <a:cxn ang="0">
                  <a:pos x="0" y="69"/>
                </a:cxn>
                <a:cxn ang="0">
                  <a:pos x="0" y="8"/>
                </a:cxn>
                <a:cxn ang="0">
                  <a:pos x="7" y="0"/>
                </a:cxn>
                <a:cxn ang="0">
                  <a:pos x="7" y="0"/>
                </a:cxn>
                <a:cxn ang="0">
                  <a:pos x="13" y="2"/>
                </a:cxn>
                <a:cxn ang="0">
                  <a:pos x="55" y="45"/>
                </a:cxn>
                <a:cxn ang="0">
                  <a:pos x="55" y="5"/>
                </a:cxn>
                <a:cxn ang="0">
                  <a:pos x="60" y="0"/>
                </a:cxn>
                <a:cxn ang="0">
                  <a:pos x="65" y="0"/>
                </a:cxn>
                <a:cxn ang="0">
                  <a:pos x="69" y="5"/>
                </a:cxn>
                <a:cxn ang="0">
                  <a:pos x="69" y="69"/>
                </a:cxn>
              </a:cxnLst>
              <a:rect l="0" t="0" r="r" b="b"/>
              <a:pathLst>
                <a:path w="69" h="69">
                  <a:moveTo>
                    <a:pt x="69" y="69"/>
                  </a:moveTo>
                  <a:cubicBezTo>
                    <a:pt x="59" y="69"/>
                    <a:pt x="59" y="69"/>
                    <a:pt x="59" y="69"/>
                  </a:cubicBezTo>
                  <a:cubicBezTo>
                    <a:pt x="14" y="23"/>
                    <a:pt x="14" y="23"/>
                    <a:pt x="14" y="23"/>
                  </a:cubicBezTo>
                  <a:cubicBezTo>
                    <a:pt x="14" y="69"/>
                    <a:pt x="14" y="69"/>
                    <a:pt x="14" y="69"/>
                  </a:cubicBezTo>
                  <a:cubicBezTo>
                    <a:pt x="0" y="69"/>
                    <a:pt x="0" y="69"/>
                    <a:pt x="0" y="69"/>
                  </a:cubicBezTo>
                  <a:cubicBezTo>
                    <a:pt x="0" y="8"/>
                    <a:pt x="0" y="8"/>
                    <a:pt x="0" y="8"/>
                  </a:cubicBezTo>
                  <a:cubicBezTo>
                    <a:pt x="0" y="3"/>
                    <a:pt x="3" y="0"/>
                    <a:pt x="7" y="0"/>
                  </a:cubicBezTo>
                  <a:cubicBezTo>
                    <a:pt x="7" y="0"/>
                    <a:pt x="7" y="0"/>
                    <a:pt x="7" y="0"/>
                  </a:cubicBezTo>
                  <a:cubicBezTo>
                    <a:pt x="9" y="0"/>
                    <a:pt x="11" y="1"/>
                    <a:pt x="13" y="2"/>
                  </a:cubicBezTo>
                  <a:cubicBezTo>
                    <a:pt x="55" y="45"/>
                    <a:pt x="55" y="45"/>
                    <a:pt x="55" y="45"/>
                  </a:cubicBezTo>
                  <a:cubicBezTo>
                    <a:pt x="55" y="5"/>
                    <a:pt x="55" y="5"/>
                    <a:pt x="55" y="5"/>
                  </a:cubicBezTo>
                  <a:cubicBezTo>
                    <a:pt x="55" y="2"/>
                    <a:pt x="57" y="0"/>
                    <a:pt x="60" y="0"/>
                  </a:cubicBezTo>
                  <a:cubicBezTo>
                    <a:pt x="65" y="0"/>
                    <a:pt x="65" y="0"/>
                    <a:pt x="65" y="0"/>
                  </a:cubicBezTo>
                  <a:cubicBezTo>
                    <a:pt x="67" y="0"/>
                    <a:pt x="69" y="2"/>
                    <a:pt x="69" y="5"/>
                  </a:cubicBezTo>
                  <a:lnTo>
                    <a:pt x="69"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7" name="Freeform 31"/>
            <p:cNvSpPr>
              <a:spLocks/>
            </p:cNvSpPr>
            <p:nvPr/>
          </p:nvSpPr>
          <p:spPr bwMode="auto">
            <a:xfrm>
              <a:off x="4175132" y="4568803"/>
              <a:ext cx="263527" cy="269873"/>
            </a:xfrm>
            <a:custGeom>
              <a:avLst/>
              <a:gdLst/>
              <a:ahLst/>
              <a:cxnLst>
                <a:cxn ang="0">
                  <a:pos x="70" y="69"/>
                </a:cxn>
                <a:cxn ang="0">
                  <a:pos x="60" y="69"/>
                </a:cxn>
                <a:cxn ang="0">
                  <a:pos x="14" y="23"/>
                </a:cxn>
                <a:cxn ang="0">
                  <a:pos x="14" y="69"/>
                </a:cxn>
                <a:cxn ang="0">
                  <a:pos x="0" y="69"/>
                </a:cxn>
                <a:cxn ang="0">
                  <a:pos x="0" y="8"/>
                </a:cxn>
                <a:cxn ang="0">
                  <a:pos x="8" y="0"/>
                </a:cxn>
                <a:cxn ang="0">
                  <a:pos x="8" y="0"/>
                </a:cxn>
                <a:cxn ang="0">
                  <a:pos x="13" y="2"/>
                </a:cxn>
                <a:cxn ang="0">
                  <a:pos x="56" y="45"/>
                </a:cxn>
                <a:cxn ang="0">
                  <a:pos x="56" y="5"/>
                </a:cxn>
                <a:cxn ang="0">
                  <a:pos x="61" y="0"/>
                </a:cxn>
                <a:cxn ang="0">
                  <a:pos x="65" y="0"/>
                </a:cxn>
                <a:cxn ang="0">
                  <a:pos x="70" y="5"/>
                </a:cxn>
                <a:cxn ang="0">
                  <a:pos x="70" y="69"/>
                </a:cxn>
              </a:cxnLst>
              <a:rect l="0" t="0" r="r" b="b"/>
              <a:pathLst>
                <a:path w="70" h="69">
                  <a:moveTo>
                    <a:pt x="70" y="69"/>
                  </a:moveTo>
                  <a:cubicBezTo>
                    <a:pt x="60" y="69"/>
                    <a:pt x="60" y="69"/>
                    <a:pt x="60" y="69"/>
                  </a:cubicBezTo>
                  <a:cubicBezTo>
                    <a:pt x="14" y="23"/>
                    <a:pt x="14" y="23"/>
                    <a:pt x="14" y="23"/>
                  </a:cubicBezTo>
                  <a:cubicBezTo>
                    <a:pt x="14" y="69"/>
                    <a:pt x="14" y="69"/>
                    <a:pt x="14" y="69"/>
                  </a:cubicBezTo>
                  <a:cubicBezTo>
                    <a:pt x="0" y="69"/>
                    <a:pt x="0" y="69"/>
                    <a:pt x="0" y="69"/>
                  </a:cubicBezTo>
                  <a:cubicBezTo>
                    <a:pt x="0" y="8"/>
                    <a:pt x="0" y="8"/>
                    <a:pt x="0" y="8"/>
                  </a:cubicBezTo>
                  <a:cubicBezTo>
                    <a:pt x="0" y="3"/>
                    <a:pt x="4" y="0"/>
                    <a:pt x="8" y="0"/>
                  </a:cubicBezTo>
                  <a:cubicBezTo>
                    <a:pt x="8" y="0"/>
                    <a:pt x="8" y="0"/>
                    <a:pt x="8" y="0"/>
                  </a:cubicBezTo>
                  <a:cubicBezTo>
                    <a:pt x="10" y="0"/>
                    <a:pt x="12" y="1"/>
                    <a:pt x="13" y="2"/>
                  </a:cubicBezTo>
                  <a:cubicBezTo>
                    <a:pt x="56" y="45"/>
                    <a:pt x="56" y="45"/>
                    <a:pt x="56" y="45"/>
                  </a:cubicBezTo>
                  <a:cubicBezTo>
                    <a:pt x="56" y="5"/>
                    <a:pt x="56" y="5"/>
                    <a:pt x="56" y="5"/>
                  </a:cubicBezTo>
                  <a:cubicBezTo>
                    <a:pt x="56" y="2"/>
                    <a:pt x="58" y="0"/>
                    <a:pt x="61" y="0"/>
                  </a:cubicBezTo>
                  <a:cubicBezTo>
                    <a:pt x="65" y="0"/>
                    <a:pt x="65" y="0"/>
                    <a:pt x="65" y="0"/>
                  </a:cubicBezTo>
                  <a:cubicBezTo>
                    <a:pt x="68" y="0"/>
                    <a:pt x="70" y="2"/>
                    <a:pt x="70" y="5"/>
                  </a:cubicBezTo>
                  <a:lnTo>
                    <a:pt x="7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8" name="Freeform 32"/>
            <p:cNvSpPr>
              <a:spLocks/>
            </p:cNvSpPr>
            <p:nvPr/>
          </p:nvSpPr>
          <p:spPr bwMode="auto">
            <a:xfrm>
              <a:off x="4957769" y="4568828"/>
              <a:ext cx="225425" cy="273050"/>
            </a:xfrm>
            <a:custGeom>
              <a:avLst/>
              <a:gdLst/>
              <a:ahLst/>
              <a:cxnLst>
                <a:cxn ang="0">
                  <a:pos x="33" y="28"/>
                </a:cxn>
                <a:cxn ang="0">
                  <a:pos x="17" y="20"/>
                </a:cxn>
                <a:cxn ang="0">
                  <a:pos x="31" y="12"/>
                </a:cxn>
                <a:cxn ang="0">
                  <a:pos x="51" y="17"/>
                </a:cxn>
                <a:cxn ang="0">
                  <a:pos x="52" y="18"/>
                </a:cxn>
                <a:cxn ang="0">
                  <a:pos x="53" y="17"/>
                </a:cxn>
                <a:cxn ang="0">
                  <a:pos x="57" y="8"/>
                </a:cxn>
                <a:cxn ang="0">
                  <a:pos x="58" y="8"/>
                </a:cxn>
                <a:cxn ang="0">
                  <a:pos x="57" y="6"/>
                </a:cxn>
                <a:cxn ang="0">
                  <a:pos x="56" y="6"/>
                </a:cxn>
                <a:cxn ang="0">
                  <a:pos x="30" y="0"/>
                </a:cxn>
                <a:cxn ang="0">
                  <a:pos x="3" y="20"/>
                </a:cxn>
                <a:cxn ang="0">
                  <a:pos x="10" y="35"/>
                </a:cxn>
                <a:cxn ang="0">
                  <a:pos x="30" y="41"/>
                </a:cxn>
                <a:cxn ang="0">
                  <a:pos x="45" y="48"/>
                </a:cxn>
                <a:cxn ang="0">
                  <a:pos x="29" y="57"/>
                </a:cxn>
                <a:cxn ang="0">
                  <a:pos x="8" y="51"/>
                </a:cxn>
                <a:cxn ang="0">
                  <a:pos x="7" y="50"/>
                </a:cxn>
                <a:cxn ang="0">
                  <a:pos x="0" y="62"/>
                </a:cxn>
                <a:cxn ang="0">
                  <a:pos x="2" y="63"/>
                </a:cxn>
                <a:cxn ang="0">
                  <a:pos x="29" y="70"/>
                </a:cxn>
                <a:cxn ang="0">
                  <a:pos x="60" y="48"/>
                </a:cxn>
                <a:cxn ang="0">
                  <a:pos x="33" y="28"/>
                </a:cxn>
              </a:cxnLst>
              <a:rect l="0" t="0" r="r" b="b"/>
              <a:pathLst>
                <a:path w="60" h="70">
                  <a:moveTo>
                    <a:pt x="33" y="28"/>
                  </a:moveTo>
                  <a:cubicBezTo>
                    <a:pt x="23" y="26"/>
                    <a:pt x="17" y="25"/>
                    <a:pt x="17" y="20"/>
                  </a:cubicBezTo>
                  <a:cubicBezTo>
                    <a:pt x="17" y="15"/>
                    <a:pt x="22" y="12"/>
                    <a:pt x="31" y="12"/>
                  </a:cubicBezTo>
                  <a:cubicBezTo>
                    <a:pt x="40" y="12"/>
                    <a:pt x="48" y="16"/>
                    <a:pt x="51" y="17"/>
                  </a:cubicBezTo>
                  <a:cubicBezTo>
                    <a:pt x="51" y="17"/>
                    <a:pt x="52" y="18"/>
                    <a:pt x="52" y="18"/>
                  </a:cubicBezTo>
                  <a:cubicBezTo>
                    <a:pt x="52" y="18"/>
                    <a:pt x="53" y="17"/>
                    <a:pt x="53" y="17"/>
                  </a:cubicBezTo>
                  <a:cubicBezTo>
                    <a:pt x="57" y="8"/>
                    <a:pt x="57" y="8"/>
                    <a:pt x="57" y="8"/>
                  </a:cubicBezTo>
                  <a:cubicBezTo>
                    <a:pt x="58" y="8"/>
                    <a:pt x="58" y="8"/>
                    <a:pt x="58" y="8"/>
                  </a:cubicBezTo>
                  <a:cubicBezTo>
                    <a:pt x="58" y="7"/>
                    <a:pt x="57" y="6"/>
                    <a:pt x="57" y="6"/>
                  </a:cubicBezTo>
                  <a:cubicBezTo>
                    <a:pt x="56" y="6"/>
                    <a:pt x="56" y="6"/>
                    <a:pt x="56" y="6"/>
                  </a:cubicBezTo>
                  <a:cubicBezTo>
                    <a:pt x="49" y="2"/>
                    <a:pt x="39" y="0"/>
                    <a:pt x="30" y="0"/>
                  </a:cubicBezTo>
                  <a:cubicBezTo>
                    <a:pt x="13" y="0"/>
                    <a:pt x="3" y="7"/>
                    <a:pt x="3" y="20"/>
                  </a:cubicBezTo>
                  <a:cubicBezTo>
                    <a:pt x="3" y="27"/>
                    <a:pt x="5" y="31"/>
                    <a:pt x="10" y="35"/>
                  </a:cubicBezTo>
                  <a:cubicBezTo>
                    <a:pt x="15" y="39"/>
                    <a:pt x="23" y="40"/>
                    <a:pt x="30" y="41"/>
                  </a:cubicBezTo>
                  <a:cubicBezTo>
                    <a:pt x="39" y="42"/>
                    <a:pt x="45" y="43"/>
                    <a:pt x="45" y="48"/>
                  </a:cubicBezTo>
                  <a:cubicBezTo>
                    <a:pt x="45" y="56"/>
                    <a:pt x="34" y="57"/>
                    <a:pt x="29" y="57"/>
                  </a:cubicBezTo>
                  <a:cubicBezTo>
                    <a:pt x="21" y="57"/>
                    <a:pt x="14" y="55"/>
                    <a:pt x="8" y="51"/>
                  </a:cubicBezTo>
                  <a:cubicBezTo>
                    <a:pt x="7" y="50"/>
                    <a:pt x="7" y="50"/>
                    <a:pt x="7" y="50"/>
                  </a:cubicBezTo>
                  <a:cubicBezTo>
                    <a:pt x="0" y="62"/>
                    <a:pt x="0" y="62"/>
                    <a:pt x="0" y="62"/>
                  </a:cubicBezTo>
                  <a:cubicBezTo>
                    <a:pt x="2" y="63"/>
                    <a:pt x="2" y="63"/>
                    <a:pt x="2" y="63"/>
                  </a:cubicBezTo>
                  <a:cubicBezTo>
                    <a:pt x="7" y="66"/>
                    <a:pt x="16" y="70"/>
                    <a:pt x="29" y="70"/>
                  </a:cubicBezTo>
                  <a:cubicBezTo>
                    <a:pt x="47" y="70"/>
                    <a:pt x="60" y="61"/>
                    <a:pt x="60" y="48"/>
                  </a:cubicBezTo>
                  <a:cubicBezTo>
                    <a:pt x="60" y="32"/>
                    <a:pt x="45" y="30"/>
                    <a:pt x="33" y="28"/>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9" name="Freeform 33"/>
            <p:cNvSpPr>
              <a:spLocks/>
            </p:cNvSpPr>
            <p:nvPr/>
          </p:nvSpPr>
          <p:spPr bwMode="auto">
            <a:xfrm>
              <a:off x="4705356" y="4568803"/>
              <a:ext cx="222249" cy="273049"/>
            </a:xfrm>
            <a:custGeom>
              <a:avLst/>
              <a:gdLst/>
              <a:ahLst/>
              <a:cxnLst>
                <a:cxn ang="0">
                  <a:pos x="33" y="28"/>
                </a:cxn>
                <a:cxn ang="0">
                  <a:pos x="17" y="20"/>
                </a:cxn>
                <a:cxn ang="0">
                  <a:pos x="31" y="12"/>
                </a:cxn>
                <a:cxn ang="0">
                  <a:pos x="51" y="17"/>
                </a:cxn>
                <a:cxn ang="0">
                  <a:pos x="52" y="18"/>
                </a:cxn>
                <a:cxn ang="0">
                  <a:pos x="53" y="17"/>
                </a:cxn>
                <a:cxn ang="0">
                  <a:pos x="57" y="8"/>
                </a:cxn>
                <a:cxn ang="0">
                  <a:pos x="57" y="8"/>
                </a:cxn>
                <a:cxn ang="0">
                  <a:pos x="56" y="6"/>
                </a:cxn>
                <a:cxn ang="0">
                  <a:pos x="56" y="6"/>
                </a:cxn>
                <a:cxn ang="0">
                  <a:pos x="30" y="0"/>
                </a:cxn>
                <a:cxn ang="0">
                  <a:pos x="3" y="20"/>
                </a:cxn>
                <a:cxn ang="0">
                  <a:pos x="9" y="35"/>
                </a:cxn>
                <a:cxn ang="0">
                  <a:pos x="30" y="41"/>
                </a:cxn>
                <a:cxn ang="0">
                  <a:pos x="45" y="48"/>
                </a:cxn>
                <a:cxn ang="0">
                  <a:pos x="29" y="57"/>
                </a:cxn>
                <a:cxn ang="0">
                  <a:pos x="8" y="51"/>
                </a:cxn>
                <a:cxn ang="0">
                  <a:pos x="7" y="50"/>
                </a:cxn>
                <a:cxn ang="0">
                  <a:pos x="0" y="62"/>
                </a:cxn>
                <a:cxn ang="0">
                  <a:pos x="2" y="63"/>
                </a:cxn>
                <a:cxn ang="0">
                  <a:pos x="29" y="70"/>
                </a:cxn>
                <a:cxn ang="0">
                  <a:pos x="59" y="48"/>
                </a:cxn>
                <a:cxn ang="0">
                  <a:pos x="33" y="28"/>
                </a:cxn>
              </a:cxnLst>
              <a:rect l="0" t="0" r="r" b="b"/>
              <a:pathLst>
                <a:path w="59" h="70">
                  <a:moveTo>
                    <a:pt x="33" y="28"/>
                  </a:moveTo>
                  <a:cubicBezTo>
                    <a:pt x="23" y="26"/>
                    <a:pt x="17" y="25"/>
                    <a:pt x="17" y="20"/>
                  </a:cubicBezTo>
                  <a:cubicBezTo>
                    <a:pt x="17" y="15"/>
                    <a:pt x="22" y="12"/>
                    <a:pt x="31" y="12"/>
                  </a:cubicBezTo>
                  <a:cubicBezTo>
                    <a:pt x="40" y="12"/>
                    <a:pt x="48" y="16"/>
                    <a:pt x="51" y="17"/>
                  </a:cubicBezTo>
                  <a:cubicBezTo>
                    <a:pt x="51" y="17"/>
                    <a:pt x="51" y="18"/>
                    <a:pt x="52" y="18"/>
                  </a:cubicBezTo>
                  <a:cubicBezTo>
                    <a:pt x="52" y="18"/>
                    <a:pt x="53" y="17"/>
                    <a:pt x="53" y="17"/>
                  </a:cubicBezTo>
                  <a:cubicBezTo>
                    <a:pt x="57" y="8"/>
                    <a:pt x="57" y="8"/>
                    <a:pt x="57" y="8"/>
                  </a:cubicBezTo>
                  <a:cubicBezTo>
                    <a:pt x="57" y="8"/>
                    <a:pt x="57" y="8"/>
                    <a:pt x="57" y="8"/>
                  </a:cubicBezTo>
                  <a:cubicBezTo>
                    <a:pt x="57" y="7"/>
                    <a:pt x="57" y="6"/>
                    <a:pt x="56" y="6"/>
                  </a:cubicBezTo>
                  <a:cubicBezTo>
                    <a:pt x="56" y="6"/>
                    <a:pt x="56" y="6"/>
                    <a:pt x="56" y="6"/>
                  </a:cubicBezTo>
                  <a:cubicBezTo>
                    <a:pt x="49" y="2"/>
                    <a:pt x="39" y="0"/>
                    <a:pt x="30" y="0"/>
                  </a:cubicBezTo>
                  <a:cubicBezTo>
                    <a:pt x="13" y="0"/>
                    <a:pt x="3" y="7"/>
                    <a:pt x="3" y="20"/>
                  </a:cubicBezTo>
                  <a:cubicBezTo>
                    <a:pt x="3" y="27"/>
                    <a:pt x="5" y="31"/>
                    <a:pt x="9" y="35"/>
                  </a:cubicBezTo>
                  <a:cubicBezTo>
                    <a:pt x="15" y="39"/>
                    <a:pt x="23" y="40"/>
                    <a:pt x="30" y="41"/>
                  </a:cubicBezTo>
                  <a:cubicBezTo>
                    <a:pt x="39" y="42"/>
                    <a:pt x="45" y="43"/>
                    <a:pt x="45" y="48"/>
                  </a:cubicBezTo>
                  <a:cubicBezTo>
                    <a:pt x="45" y="56"/>
                    <a:pt x="34" y="57"/>
                    <a:pt x="29" y="57"/>
                  </a:cubicBezTo>
                  <a:cubicBezTo>
                    <a:pt x="21" y="57"/>
                    <a:pt x="14" y="55"/>
                    <a:pt x="8" y="51"/>
                  </a:cubicBezTo>
                  <a:cubicBezTo>
                    <a:pt x="7" y="50"/>
                    <a:pt x="7" y="50"/>
                    <a:pt x="7" y="50"/>
                  </a:cubicBezTo>
                  <a:cubicBezTo>
                    <a:pt x="0" y="62"/>
                    <a:pt x="0" y="62"/>
                    <a:pt x="0" y="62"/>
                  </a:cubicBezTo>
                  <a:cubicBezTo>
                    <a:pt x="2" y="63"/>
                    <a:pt x="2" y="63"/>
                    <a:pt x="2" y="63"/>
                  </a:cubicBezTo>
                  <a:cubicBezTo>
                    <a:pt x="7" y="66"/>
                    <a:pt x="15" y="70"/>
                    <a:pt x="29" y="70"/>
                  </a:cubicBezTo>
                  <a:cubicBezTo>
                    <a:pt x="47" y="70"/>
                    <a:pt x="59" y="61"/>
                    <a:pt x="59" y="48"/>
                  </a:cubicBezTo>
                  <a:cubicBezTo>
                    <a:pt x="59" y="32"/>
                    <a:pt x="45" y="30"/>
                    <a:pt x="33" y="28"/>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40" name="Freeform 34"/>
            <p:cNvSpPr>
              <a:spLocks/>
            </p:cNvSpPr>
            <p:nvPr/>
          </p:nvSpPr>
          <p:spPr bwMode="auto">
            <a:xfrm>
              <a:off x="3814767" y="4568821"/>
              <a:ext cx="225425" cy="273050"/>
            </a:xfrm>
            <a:custGeom>
              <a:avLst/>
              <a:gdLst/>
              <a:ahLst/>
              <a:cxnLst>
                <a:cxn ang="0">
                  <a:pos x="33" y="28"/>
                </a:cxn>
                <a:cxn ang="0">
                  <a:pos x="17" y="20"/>
                </a:cxn>
                <a:cxn ang="0">
                  <a:pos x="31" y="12"/>
                </a:cxn>
                <a:cxn ang="0">
                  <a:pos x="51" y="17"/>
                </a:cxn>
                <a:cxn ang="0">
                  <a:pos x="52" y="18"/>
                </a:cxn>
                <a:cxn ang="0">
                  <a:pos x="53" y="17"/>
                </a:cxn>
                <a:cxn ang="0">
                  <a:pos x="57" y="8"/>
                </a:cxn>
                <a:cxn ang="0">
                  <a:pos x="57" y="8"/>
                </a:cxn>
                <a:cxn ang="0">
                  <a:pos x="56" y="6"/>
                </a:cxn>
                <a:cxn ang="0">
                  <a:pos x="56" y="6"/>
                </a:cxn>
                <a:cxn ang="0">
                  <a:pos x="30" y="0"/>
                </a:cxn>
                <a:cxn ang="0">
                  <a:pos x="3" y="20"/>
                </a:cxn>
                <a:cxn ang="0">
                  <a:pos x="10" y="35"/>
                </a:cxn>
                <a:cxn ang="0">
                  <a:pos x="30" y="41"/>
                </a:cxn>
                <a:cxn ang="0">
                  <a:pos x="45" y="48"/>
                </a:cxn>
                <a:cxn ang="0">
                  <a:pos x="29" y="57"/>
                </a:cxn>
                <a:cxn ang="0">
                  <a:pos x="8" y="51"/>
                </a:cxn>
                <a:cxn ang="0">
                  <a:pos x="7" y="50"/>
                </a:cxn>
                <a:cxn ang="0">
                  <a:pos x="0" y="62"/>
                </a:cxn>
                <a:cxn ang="0">
                  <a:pos x="2" y="63"/>
                </a:cxn>
                <a:cxn ang="0">
                  <a:pos x="29" y="70"/>
                </a:cxn>
                <a:cxn ang="0">
                  <a:pos x="60" y="48"/>
                </a:cxn>
                <a:cxn ang="0">
                  <a:pos x="33" y="28"/>
                </a:cxn>
              </a:cxnLst>
              <a:rect l="0" t="0" r="r" b="b"/>
              <a:pathLst>
                <a:path w="60" h="70">
                  <a:moveTo>
                    <a:pt x="33" y="28"/>
                  </a:moveTo>
                  <a:cubicBezTo>
                    <a:pt x="23" y="26"/>
                    <a:pt x="17" y="25"/>
                    <a:pt x="17" y="20"/>
                  </a:cubicBezTo>
                  <a:cubicBezTo>
                    <a:pt x="17" y="15"/>
                    <a:pt x="22" y="12"/>
                    <a:pt x="31" y="12"/>
                  </a:cubicBezTo>
                  <a:cubicBezTo>
                    <a:pt x="40" y="12"/>
                    <a:pt x="48" y="16"/>
                    <a:pt x="51" y="17"/>
                  </a:cubicBezTo>
                  <a:cubicBezTo>
                    <a:pt x="51" y="17"/>
                    <a:pt x="51" y="18"/>
                    <a:pt x="52" y="18"/>
                  </a:cubicBezTo>
                  <a:cubicBezTo>
                    <a:pt x="52" y="18"/>
                    <a:pt x="53" y="17"/>
                    <a:pt x="53" y="17"/>
                  </a:cubicBezTo>
                  <a:cubicBezTo>
                    <a:pt x="57" y="8"/>
                    <a:pt x="57" y="8"/>
                    <a:pt x="57" y="8"/>
                  </a:cubicBezTo>
                  <a:cubicBezTo>
                    <a:pt x="57" y="8"/>
                    <a:pt x="57" y="8"/>
                    <a:pt x="57" y="8"/>
                  </a:cubicBezTo>
                  <a:cubicBezTo>
                    <a:pt x="57" y="7"/>
                    <a:pt x="57" y="6"/>
                    <a:pt x="56" y="6"/>
                  </a:cubicBezTo>
                  <a:cubicBezTo>
                    <a:pt x="56" y="6"/>
                    <a:pt x="56" y="6"/>
                    <a:pt x="56" y="6"/>
                  </a:cubicBezTo>
                  <a:cubicBezTo>
                    <a:pt x="49" y="2"/>
                    <a:pt x="39" y="0"/>
                    <a:pt x="30" y="0"/>
                  </a:cubicBezTo>
                  <a:cubicBezTo>
                    <a:pt x="13" y="0"/>
                    <a:pt x="3" y="7"/>
                    <a:pt x="3" y="20"/>
                  </a:cubicBezTo>
                  <a:cubicBezTo>
                    <a:pt x="3" y="27"/>
                    <a:pt x="5" y="31"/>
                    <a:pt x="10" y="35"/>
                  </a:cubicBezTo>
                  <a:cubicBezTo>
                    <a:pt x="15" y="39"/>
                    <a:pt x="23" y="40"/>
                    <a:pt x="30" y="41"/>
                  </a:cubicBezTo>
                  <a:cubicBezTo>
                    <a:pt x="39" y="42"/>
                    <a:pt x="45" y="43"/>
                    <a:pt x="45" y="48"/>
                  </a:cubicBezTo>
                  <a:cubicBezTo>
                    <a:pt x="45" y="56"/>
                    <a:pt x="34" y="57"/>
                    <a:pt x="29" y="57"/>
                  </a:cubicBezTo>
                  <a:cubicBezTo>
                    <a:pt x="21" y="57"/>
                    <a:pt x="14" y="55"/>
                    <a:pt x="8" y="51"/>
                  </a:cubicBezTo>
                  <a:cubicBezTo>
                    <a:pt x="7" y="50"/>
                    <a:pt x="7" y="50"/>
                    <a:pt x="7" y="50"/>
                  </a:cubicBezTo>
                  <a:cubicBezTo>
                    <a:pt x="0" y="62"/>
                    <a:pt x="0" y="62"/>
                    <a:pt x="0" y="62"/>
                  </a:cubicBezTo>
                  <a:cubicBezTo>
                    <a:pt x="2" y="63"/>
                    <a:pt x="2" y="63"/>
                    <a:pt x="2" y="63"/>
                  </a:cubicBezTo>
                  <a:cubicBezTo>
                    <a:pt x="7" y="66"/>
                    <a:pt x="16" y="70"/>
                    <a:pt x="29" y="70"/>
                  </a:cubicBezTo>
                  <a:cubicBezTo>
                    <a:pt x="47" y="70"/>
                    <a:pt x="60" y="61"/>
                    <a:pt x="60" y="48"/>
                  </a:cubicBezTo>
                  <a:cubicBezTo>
                    <a:pt x="60" y="32"/>
                    <a:pt x="45" y="30"/>
                    <a:pt x="33" y="28"/>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41" name="Freeform 35"/>
            <p:cNvSpPr>
              <a:spLocks/>
            </p:cNvSpPr>
            <p:nvPr/>
          </p:nvSpPr>
          <p:spPr bwMode="auto">
            <a:xfrm>
              <a:off x="5559430" y="4568825"/>
              <a:ext cx="187326" cy="269874"/>
            </a:xfrm>
            <a:custGeom>
              <a:avLst/>
              <a:gdLst/>
              <a:ahLst/>
              <a:cxnLst>
                <a:cxn ang="0">
                  <a:pos x="14" y="56"/>
                </a:cxn>
                <a:cxn ang="0">
                  <a:pos x="14" y="5"/>
                </a:cxn>
                <a:cxn ang="0">
                  <a:pos x="9" y="0"/>
                </a:cxn>
                <a:cxn ang="0">
                  <a:pos x="5" y="0"/>
                </a:cxn>
                <a:cxn ang="0">
                  <a:pos x="0" y="5"/>
                </a:cxn>
                <a:cxn ang="0">
                  <a:pos x="0" y="69"/>
                </a:cxn>
                <a:cxn ang="0">
                  <a:pos x="50" y="69"/>
                </a:cxn>
                <a:cxn ang="0">
                  <a:pos x="50" y="56"/>
                </a:cxn>
                <a:cxn ang="0">
                  <a:pos x="14" y="56"/>
                </a:cxn>
              </a:cxnLst>
              <a:rect l="0" t="0" r="r" b="b"/>
              <a:pathLst>
                <a:path w="50" h="69">
                  <a:moveTo>
                    <a:pt x="14" y="56"/>
                  </a:moveTo>
                  <a:cubicBezTo>
                    <a:pt x="14" y="54"/>
                    <a:pt x="14" y="17"/>
                    <a:pt x="14" y="5"/>
                  </a:cubicBezTo>
                  <a:cubicBezTo>
                    <a:pt x="14" y="2"/>
                    <a:pt x="12" y="0"/>
                    <a:pt x="9" y="0"/>
                  </a:cubicBezTo>
                  <a:cubicBezTo>
                    <a:pt x="5" y="0"/>
                    <a:pt x="5" y="0"/>
                    <a:pt x="5" y="0"/>
                  </a:cubicBezTo>
                  <a:cubicBezTo>
                    <a:pt x="2" y="0"/>
                    <a:pt x="0" y="2"/>
                    <a:pt x="0" y="5"/>
                  </a:cubicBezTo>
                  <a:cubicBezTo>
                    <a:pt x="0" y="69"/>
                    <a:pt x="0" y="69"/>
                    <a:pt x="0" y="69"/>
                  </a:cubicBezTo>
                  <a:cubicBezTo>
                    <a:pt x="50" y="69"/>
                    <a:pt x="50" y="69"/>
                    <a:pt x="50" y="69"/>
                  </a:cubicBezTo>
                  <a:cubicBezTo>
                    <a:pt x="50" y="56"/>
                    <a:pt x="50" y="56"/>
                    <a:pt x="50" y="56"/>
                  </a:cubicBezTo>
                  <a:cubicBezTo>
                    <a:pt x="50" y="56"/>
                    <a:pt x="17" y="56"/>
                    <a:pt x="14" y="56"/>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dirty="0">
                <a:solidFill>
                  <a:schemeClr val="tx1"/>
                </a:solidFill>
                <a:latin typeface="+mn-lt"/>
                <a:ea typeface="+mn-ea"/>
                <a:cs typeface="+mn-cs"/>
              </a:endParaRPr>
            </a:p>
          </p:txBody>
        </p:sp>
        <p:sp>
          <p:nvSpPr>
            <p:cNvPr id="42" name="Freeform 36"/>
            <p:cNvSpPr>
              <a:spLocks/>
            </p:cNvSpPr>
            <p:nvPr/>
          </p:nvSpPr>
          <p:spPr bwMode="auto">
            <a:xfrm>
              <a:off x="3529015" y="4568823"/>
              <a:ext cx="255589" cy="273050"/>
            </a:xfrm>
            <a:custGeom>
              <a:avLst/>
              <a:gdLst/>
              <a:ahLst/>
              <a:cxnLst>
                <a:cxn ang="0">
                  <a:pos x="63" y="0"/>
                </a:cxn>
                <a:cxn ang="0">
                  <a:pos x="58" y="0"/>
                </a:cxn>
                <a:cxn ang="0">
                  <a:pos x="54" y="5"/>
                </a:cxn>
                <a:cxn ang="0">
                  <a:pos x="54" y="39"/>
                </a:cxn>
                <a:cxn ang="0">
                  <a:pos x="52" y="48"/>
                </a:cxn>
                <a:cxn ang="0">
                  <a:pos x="34" y="57"/>
                </a:cxn>
                <a:cxn ang="0">
                  <a:pos x="15" y="48"/>
                </a:cxn>
                <a:cxn ang="0">
                  <a:pos x="14" y="39"/>
                </a:cxn>
                <a:cxn ang="0">
                  <a:pos x="14" y="5"/>
                </a:cxn>
                <a:cxn ang="0">
                  <a:pos x="9" y="0"/>
                </a:cxn>
                <a:cxn ang="0">
                  <a:pos x="5" y="0"/>
                </a:cxn>
                <a:cxn ang="0">
                  <a:pos x="0" y="5"/>
                </a:cxn>
                <a:cxn ang="0">
                  <a:pos x="0" y="40"/>
                </a:cxn>
                <a:cxn ang="0">
                  <a:pos x="2" y="52"/>
                </a:cxn>
                <a:cxn ang="0">
                  <a:pos x="34" y="70"/>
                </a:cxn>
                <a:cxn ang="0">
                  <a:pos x="65" y="53"/>
                </a:cxn>
                <a:cxn ang="0">
                  <a:pos x="68" y="40"/>
                </a:cxn>
                <a:cxn ang="0">
                  <a:pos x="68" y="5"/>
                </a:cxn>
                <a:cxn ang="0">
                  <a:pos x="63" y="0"/>
                </a:cxn>
              </a:cxnLst>
              <a:rect l="0" t="0" r="r" b="b"/>
              <a:pathLst>
                <a:path w="68" h="70">
                  <a:moveTo>
                    <a:pt x="63" y="0"/>
                  </a:moveTo>
                  <a:cubicBezTo>
                    <a:pt x="58" y="0"/>
                    <a:pt x="58" y="0"/>
                    <a:pt x="58" y="0"/>
                  </a:cubicBezTo>
                  <a:cubicBezTo>
                    <a:pt x="56" y="0"/>
                    <a:pt x="54" y="2"/>
                    <a:pt x="54" y="5"/>
                  </a:cubicBezTo>
                  <a:cubicBezTo>
                    <a:pt x="54" y="39"/>
                    <a:pt x="54" y="39"/>
                    <a:pt x="54" y="39"/>
                  </a:cubicBezTo>
                  <a:cubicBezTo>
                    <a:pt x="54" y="43"/>
                    <a:pt x="53" y="46"/>
                    <a:pt x="52" y="48"/>
                  </a:cubicBezTo>
                  <a:cubicBezTo>
                    <a:pt x="49" y="54"/>
                    <a:pt x="44" y="57"/>
                    <a:pt x="34" y="57"/>
                  </a:cubicBezTo>
                  <a:cubicBezTo>
                    <a:pt x="24" y="57"/>
                    <a:pt x="18" y="54"/>
                    <a:pt x="15" y="48"/>
                  </a:cubicBezTo>
                  <a:cubicBezTo>
                    <a:pt x="14" y="45"/>
                    <a:pt x="14" y="43"/>
                    <a:pt x="14" y="39"/>
                  </a:cubicBezTo>
                  <a:cubicBezTo>
                    <a:pt x="14" y="5"/>
                    <a:pt x="14" y="5"/>
                    <a:pt x="14" y="5"/>
                  </a:cubicBezTo>
                  <a:cubicBezTo>
                    <a:pt x="14" y="2"/>
                    <a:pt x="12" y="0"/>
                    <a:pt x="9" y="0"/>
                  </a:cubicBezTo>
                  <a:cubicBezTo>
                    <a:pt x="5" y="0"/>
                    <a:pt x="5" y="0"/>
                    <a:pt x="5" y="0"/>
                  </a:cubicBezTo>
                  <a:cubicBezTo>
                    <a:pt x="2" y="0"/>
                    <a:pt x="0" y="2"/>
                    <a:pt x="0" y="5"/>
                  </a:cubicBezTo>
                  <a:cubicBezTo>
                    <a:pt x="0" y="40"/>
                    <a:pt x="0" y="40"/>
                    <a:pt x="0" y="40"/>
                  </a:cubicBezTo>
                  <a:cubicBezTo>
                    <a:pt x="0" y="45"/>
                    <a:pt x="1" y="49"/>
                    <a:pt x="2" y="52"/>
                  </a:cubicBezTo>
                  <a:cubicBezTo>
                    <a:pt x="5" y="60"/>
                    <a:pt x="13" y="70"/>
                    <a:pt x="34" y="70"/>
                  </a:cubicBezTo>
                  <a:cubicBezTo>
                    <a:pt x="50" y="70"/>
                    <a:pt x="61" y="64"/>
                    <a:pt x="65" y="53"/>
                  </a:cubicBezTo>
                  <a:cubicBezTo>
                    <a:pt x="67" y="49"/>
                    <a:pt x="68" y="45"/>
                    <a:pt x="68" y="40"/>
                  </a:cubicBezTo>
                  <a:cubicBezTo>
                    <a:pt x="68" y="5"/>
                    <a:pt x="68" y="5"/>
                    <a:pt x="68" y="5"/>
                  </a:cubicBezTo>
                  <a:cubicBezTo>
                    <a:pt x="67" y="2"/>
                    <a:pt x="65" y="0"/>
                    <a:pt x="63" y="0"/>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43" name="Freeform 37"/>
            <p:cNvSpPr>
              <a:spLocks noEditPoints="1"/>
            </p:cNvSpPr>
            <p:nvPr/>
          </p:nvSpPr>
          <p:spPr bwMode="auto">
            <a:xfrm>
              <a:off x="3276602" y="4568825"/>
              <a:ext cx="214315" cy="269874"/>
            </a:xfrm>
            <a:custGeom>
              <a:avLst/>
              <a:gdLst/>
              <a:ahLst/>
              <a:cxnLst>
                <a:cxn ang="0">
                  <a:pos x="48" y="33"/>
                </a:cxn>
                <a:cxn ang="0">
                  <a:pos x="46" y="32"/>
                </a:cxn>
                <a:cxn ang="0">
                  <a:pos x="52" y="19"/>
                </a:cxn>
                <a:cxn ang="0">
                  <a:pos x="37" y="1"/>
                </a:cxn>
                <a:cxn ang="0">
                  <a:pos x="25" y="0"/>
                </a:cxn>
                <a:cxn ang="0">
                  <a:pos x="7" y="0"/>
                </a:cxn>
                <a:cxn ang="0">
                  <a:pos x="0" y="7"/>
                </a:cxn>
                <a:cxn ang="0">
                  <a:pos x="0" y="69"/>
                </a:cxn>
                <a:cxn ang="0">
                  <a:pos x="28" y="69"/>
                </a:cxn>
                <a:cxn ang="0">
                  <a:pos x="43" y="67"/>
                </a:cxn>
                <a:cxn ang="0">
                  <a:pos x="57" y="48"/>
                </a:cxn>
                <a:cxn ang="0">
                  <a:pos x="48" y="33"/>
                </a:cxn>
                <a:cxn ang="0">
                  <a:pos x="25" y="12"/>
                </a:cxn>
                <a:cxn ang="0">
                  <a:pos x="33" y="12"/>
                </a:cxn>
                <a:cxn ang="0">
                  <a:pos x="39" y="20"/>
                </a:cxn>
                <a:cxn ang="0">
                  <a:pos x="34" y="28"/>
                </a:cxn>
                <a:cxn ang="0">
                  <a:pos x="25" y="29"/>
                </a:cxn>
                <a:cxn ang="0">
                  <a:pos x="14" y="29"/>
                </a:cxn>
                <a:cxn ang="0">
                  <a:pos x="14" y="12"/>
                </a:cxn>
                <a:cxn ang="0">
                  <a:pos x="25" y="12"/>
                </a:cxn>
                <a:cxn ang="0">
                  <a:pos x="29" y="39"/>
                </a:cxn>
                <a:cxn ang="0">
                  <a:pos x="38" y="40"/>
                </a:cxn>
                <a:cxn ang="0">
                  <a:pos x="44" y="48"/>
                </a:cxn>
                <a:cxn ang="0">
                  <a:pos x="38" y="56"/>
                </a:cxn>
                <a:cxn ang="0">
                  <a:pos x="27" y="57"/>
                </a:cxn>
                <a:cxn ang="0">
                  <a:pos x="14" y="57"/>
                </a:cxn>
                <a:cxn ang="0">
                  <a:pos x="14" y="39"/>
                </a:cxn>
                <a:cxn ang="0">
                  <a:pos x="29" y="39"/>
                </a:cxn>
              </a:cxnLst>
              <a:rect l="0" t="0" r="r" b="b"/>
              <a:pathLst>
                <a:path w="57" h="69">
                  <a:moveTo>
                    <a:pt x="48" y="33"/>
                  </a:moveTo>
                  <a:cubicBezTo>
                    <a:pt x="47" y="32"/>
                    <a:pt x="47" y="32"/>
                    <a:pt x="46" y="32"/>
                  </a:cubicBezTo>
                  <a:cubicBezTo>
                    <a:pt x="50" y="29"/>
                    <a:pt x="52" y="25"/>
                    <a:pt x="52" y="19"/>
                  </a:cubicBezTo>
                  <a:cubicBezTo>
                    <a:pt x="52" y="10"/>
                    <a:pt x="47" y="4"/>
                    <a:pt x="37" y="1"/>
                  </a:cubicBezTo>
                  <a:cubicBezTo>
                    <a:pt x="33" y="0"/>
                    <a:pt x="29" y="0"/>
                    <a:pt x="25" y="0"/>
                  </a:cubicBezTo>
                  <a:cubicBezTo>
                    <a:pt x="7" y="0"/>
                    <a:pt x="7" y="0"/>
                    <a:pt x="7" y="0"/>
                  </a:cubicBezTo>
                  <a:cubicBezTo>
                    <a:pt x="3" y="0"/>
                    <a:pt x="0" y="3"/>
                    <a:pt x="0" y="7"/>
                  </a:cubicBezTo>
                  <a:cubicBezTo>
                    <a:pt x="0" y="69"/>
                    <a:pt x="0" y="69"/>
                    <a:pt x="0" y="69"/>
                  </a:cubicBezTo>
                  <a:cubicBezTo>
                    <a:pt x="28" y="69"/>
                    <a:pt x="28" y="69"/>
                    <a:pt x="28" y="69"/>
                  </a:cubicBezTo>
                  <a:cubicBezTo>
                    <a:pt x="34" y="69"/>
                    <a:pt x="39" y="68"/>
                    <a:pt x="43" y="67"/>
                  </a:cubicBezTo>
                  <a:cubicBezTo>
                    <a:pt x="52" y="63"/>
                    <a:pt x="57" y="57"/>
                    <a:pt x="57" y="48"/>
                  </a:cubicBezTo>
                  <a:cubicBezTo>
                    <a:pt x="57" y="41"/>
                    <a:pt x="54" y="36"/>
                    <a:pt x="48" y="33"/>
                  </a:cubicBezTo>
                  <a:close/>
                  <a:moveTo>
                    <a:pt x="25" y="12"/>
                  </a:moveTo>
                  <a:cubicBezTo>
                    <a:pt x="28" y="12"/>
                    <a:pt x="31" y="12"/>
                    <a:pt x="33" y="12"/>
                  </a:cubicBezTo>
                  <a:cubicBezTo>
                    <a:pt x="37" y="14"/>
                    <a:pt x="39" y="16"/>
                    <a:pt x="39" y="20"/>
                  </a:cubicBezTo>
                  <a:cubicBezTo>
                    <a:pt x="39" y="24"/>
                    <a:pt x="37" y="26"/>
                    <a:pt x="34" y="28"/>
                  </a:cubicBezTo>
                  <a:cubicBezTo>
                    <a:pt x="32" y="28"/>
                    <a:pt x="29" y="29"/>
                    <a:pt x="25" y="29"/>
                  </a:cubicBezTo>
                  <a:cubicBezTo>
                    <a:pt x="14" y="29"/>
                    <a:pt x="14" y="29"/>
                    <a:pt x="14" y="29"/>
                  </a:cubicBezTo>
                  <a:cubicBezTo>
                    <a:pt x="14" y="12"/>
                    <a:pt x="14" y="12"/>
                    <a:pt x="14" y="12"/>
                  </a:cubicBezTo>
                  <a:lnTo>
                    <a:pt x="25" y="12"/>
                  </a:lnTo>
                  <a:close/>
                  <a:moveTo>
                    <a:pt x="29" y="39"/>
                  </a:moveTo>
                  <a:cubicBezTo>
                    <a:pt x="33" y="39"/>
                    <a:pt x="36" y="40"/>
                    <a:pt x="38" y="40"/>
                  </a:cubicBezTo>
                  <a:cubicBezTo>
                    <a:pt x="42" y="42"/>
                    <a:pt x="44" y="44"/>
                    <a:pt x="44" y="48"/>
                  </a:cubicBezTo>
                  <a:cubicBezTo>
                    <a:pt x="44" y="52"/>
                    <a:pt x="42" y="54"/>
                    <a:pt x="38" y="56"/>
                  </a:cubicBezTo>
                  <a:cubicBezTo>
                    <a:pt x="35" y="57"/>
                    <a:pt x="32" y="57"/>
                    <a:pt x="27" y="57"/>
                  </a:cubicBezTo>
                  <a:cubicBezTo>
                    <a:pt x="14" y="57"/>
                    <a:pt x="14" y="57"/>
                    <a:pt x="14" y="57"/>
                  </a:cubicBezTo>
                  <a:cubicBezTo>
                    <a:pt x="14" y="39"/>
                    <a:pt x="14" y="39"/>
                    <a:pt x="14" y="39"/>
                  </a:cubicBezTo>
                  <a:lnTo>
                    <a:pt x="29" y="3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38"/>
            <p:cNvSpPr>
              <a:spLocks noEditPoints="1"/>
            </p:cNvSpPr>
            <p:nvPr/>
          </p:nvSpPr>
          <p:spPr bwMode="auto">
            <a:xfrm>
              <a:off x="5326068" y="4568826"/>
              <a:ext cx="203202" cy="269874"/>
            </a:xfrm>
            <a:custGeom>
              <a:avLst/>
              <a:gdLst/>
              <a:ahLst/>
              <a:cxnLst>
                <a:cxn ang="0">
                  <a:pos x="37" y="1"/>
                </a:cxn>
                <a:cxn ang="0">
                  <a:pos x="23" y="0"/>
                </a:cxn>
                <a:cxn ang="0">
                  <a:pos x="7" y="0"/>
                </a:cxn>
                <a:cxn ang="0">
                  <a:pos x="0" y="7"/>
                </a:cxn>
                <a:cxn ang="0">
                  <a:pos x="0" y="69"/>
                </a:cxn>
                <a:cxn ang="0">
                  <a:pos x="14" y="69"/>
                </a:cxn>
                <a:cxn ang="0">
                  <a:pos x="14" y="46"/>
                </a:cxn>
                <a:cxn ang="0">
                  <a:pos x="22" y="46"/>
                </a:cxn>
                <a:cxn ang="0">
                  <a:pos x="34" y="45"/>
                </a:cxn>
                <a:cxn ang="0">
                  <a:pos x="54" y="23"/>
                </a:cxn>
                <a:cxn ang="0">
                  <a:pos x="37" y="1"/>
                </a:cxn>
                <a:cxn ang="0">
                  <a:pos x="23" y="12"/>
                </a:cxn>
                <a:cxn ang="0">
                  <a:pos x="33" y="13"/>
                </a:cxn>
                <a:cxn ang="0">
                  <a:pos x="41" y="23"/>
                </a:cxn>
                <a:cxn ang="0">
                  <a:pos x="32" y="34"/>
                </a:cxn>
                <a:cxn ang="0">
                  <a:pos x="22" y="34"/>
                </a:cxn>
                <a:cxn ang="0">
                  <a:pos x="14" y="34"/>
                </a:cxn>
                <a:cxn ang="0">
                  <a:pos x="14" y="12"/>
                </a:cxn>
                <a:cxn ang="0">
                  <a:pos x="23" y="12"/>
                </a:cxn>
              </a:cxnLst>
              <a:rect l="0" t="0" r="r" b="b"/>
              <a:pathLst>
                <a:path w="54" h="69">
                  <a:moveTo>
                    <a:pt x="37" y="1"/>
                  </a:moveTo>
                  <a:cubicBezTo>
                    <a:pt x="33" y="0"/>
                    <a:pt x="28" y="0"/>
                    <a:pt x="23" y="0"/>
                  </a:cubicBezTo>
                  <a:cubicBezTo>
                    <a:pt x="7" y="0"/>
                    <a:pt x="7" y="0"/>
                    <a:pt x="7" y="0"/>
                  </a:cubicBezTo>
                  <a:cubicBezTo>
                    <a:pt x="3" y="0"/>
                    <a:pt x="0" y="3"/>
                    <a:pt x="0" y="7"/>
                  </a:cubicBezTo>
                  <a:cubicBezTo>
                    <a:pt x="0" y="69"/>
                    <a:pt x="0" y="69"/>
                    <a:pt x="0" y="69"/>
                  </a:cubicBezTo>
                  <a:cubicBezTo>
                    <a:pt x="14" y="69"/>
                    <a:pt x="14" y="69"/>
                    <a:pt x="14" y="69"/>
                  </a:cubicBezTo>
                  <a:cubicBezTo>
                    <a:pt x="14" y="69"/>
                    <a:pt x="14" y="49"/>
                    <a:pt x="14" y="46"/>
                  </a:cubicBezTo>
                  <a:cubicBezTo>
                    <a:pt x="16" y="46"/>
                    <a:pt x="22" y="46"/>
                    <a:pt x="22" y="46"/>
                  </a:cubicBezTo>
                  <a:cubicBezTo>
                    <a:pt x="27" y="46"/>
                    <a:pt x="31" y="46"/>
                    <a:pt x="34" y="45"/>
                  </a:cubicBezTo>
                  <a:cubicBezTo>
                    <a:pt x="47" y="43"/>
                    <a:pt x="54" y="34"/>
                    <a:pt x="54" y="23"/>
                  </a:cubicBezTo>
                  <a:cubicBezTo>
                    <a:pt x="54" y="12"/>
                    <a:pt x="48" y="4"/>
                    <a:pt x="37" y="1"/>
                  </a:cubicBezTo>
                  <a:close/>
                  <a:moveTo>
                    <a:pt x="23" y="12"/>
                  </a:moveTo>
                  <a:cubicBezTo>
                    <a:pt x="27" y="12"/>
                    <a:pt x="30" y="12"/>
                    <a:pt x="33" y="13"/>
                  </a:cubicBezTo>
                  <a:cubicBezTo>
                    <a:pt x="38" y="14"/>
                    <a:pt x="41" y="18"/>
                    <a:pt x="41" y="23"/>
                  </a:cubicBezTo>
                  <a:cubicBezTo>
                    <a:pt x="41" y="29"/>
                    <a:pt x="38" y="32"/>
                    <a:pt x="32" y="34"/>
                  </a:cubicBezTo>
                  <a:cubicBezTo>
                    <a:pt x="29" y="34"/>
                    <a:pt x="26" y="34"/>
                    <a:pt x="22" y="34"/>
                  </a:cubicBezTo>
                  <a:cubicBezTo>
                    <a:pt x="14" y="34"/>
                    <a:pt x="14" y="34"/>
                    <a:pt x="14" y="34"/>
                  </a:cubicBezTo>
                  <a:cubicBezTo>
                    <a:pt x="14" y="12"/>
                    <a:pt x="14" y="12"/>
                    <a:pt x="14" y="12"/>
                  </a:cubicBezTo>
                  <a:lnTo>
                    <a:pt x="23" y="12"/>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45" name="Freeform 39"/>
            <p:cNvSpPr>
              <a:spLocks/>
            </p:cNvSpPr>
            <p:nvPr/>
          </p:nvSpPr>
          <p:spPr bwMode="auto">
            <a:xfrm>
              <a:off x="7070725" y="4568823"/>
              <a:ext cx="266699" cy="273050"/>
            </a:xfrm>
            <a:custGeom>
              <a:avLst/>
              <a:gdLst/>
              <a:ahLst/>
              <a:cxnLst>
                <a:cxn ang="0">
                  <a:pos x="42" y="30"/>
                </a:cxn>
                <a:cxn ang="0">
                  <a:pos x="39" y="32"/>
                </a:cxn>
                <a:cxn ang="0">
                  <a:pos x="39" y="40"/>
                </a:cxn>
                <a:cxn ang="0">
                  <a:pos x="42" y="42"/>
                </a:cxn>
                <a:cxn ang="0">
                  <a:pos x="57" y="42"/>
                </a:cxn>
                <a:cxn ang="0">
                  <a:pos x="57" y="55"/>
                </a:cxn>
                <a:cxn ang="0">
                  <a:pos x="41" y="57"/>
                </a:cxn>
                <a:cxn ang="0">
                  <a:pos x="15" y="35"/>
                </a:cxn>
                <a:cxn ang="0">
                  <a:pos x="41" y="12"/>
                </a:cxn>
                <a:cxn ang="0">
                  <a:pos x="64" y="17"/>
                </a:cxn>
                <a:cxn ang="0">
                  <a:pos x="67" y="16"/>
                </a:cxn>
                <a:cxn ang="0">
                  <a:pos x="70" y="8"/>
                </a:cxn>
                <a:cxn ang="0">
                  <a:pos x="69" y="5"/>
                </a:cxn>
                <a:cxn ang="0">
                  <a:pos x="41" y="0"/>
                </a:cxn>
                <a:cxn ang="0">
                  <a:pos x="0" y="35"/>
                </a:cxn>
                <a:cxn ang="0">
                  <a:pos x="41" y="70"/>
                </a:cxn>
                <a:cxn ang="0">
                  <a:pos x="70" y="64"/>
                </a:cxn>
                <a:cxn ang="0">
                  <a:pos x="71" y="63"/>
                </a:cxn>
                <a:cxn ang="0">
                  <a:pos x="71" y="30"/>
                </a:cxn>
                <a:cxn ang="0">
                  <a:pos x="42" y="30"/>
                </a:cxn>
              </a:cxnLst>
              <a:rect l="0" t="0" r="r" b="b"/>
              <a:pathLst>
                <a:path w="71" h="70">
                  <a:moveTo>
                    <a:pt x="42" y="30"/>
                  </a:moveTo>
                  <a:cubicBezTo>
                    <a:pt x="40" y="30"/>
                    <a:pt x="39" y="31"/>
                    <a:pt x="39" y="32"/>
                  </a:cubicBezTo>
                  <a:cubicBezTo>
                    <a:pt x="39" y="40"/>
                    <a:pt x="39" y="40"/>
                    <a:pt x="39" y="40"/>
                  </a:cubicBezTo>
                  <a:cubicBezTo>
                    <a:pt x="39" y="41"/>
                    <a:pt x="40" y="42"/>
                    <a:pt x="42" y="42"/>
                  </a:cubicBezTo>
                  <a:cubicBezTo>
                    <a:pt x="42" y="42"/>
                    <a:pt x="54" y="42"/>
                    <a:pt x="57" y="42"/>
                  </a:cubicBezTo>
                  <a:cubicBezTo>
                    <a:pt x="57" y="55"/>
                    <a:pt x="57" y="55"/>
                    <a:pt x="57" y="55"/>
                  </a:cubicBezTo>
                  <a:cubicBezTo>
                    <a:pt x="53" y="56"/>
                    <a:pt x="47" y="57"/>
                    <a:pt x="41" y="57"/>
                  </a:cubicBezTo>
                  <a:cubicBezTo>
                    <a:pt x="24" y="57"/>
                    <a:pt x="15" y="49"/>
                    <a:pt x="15" y="35"/>
                  </a:cubicBezTo>
                  <a:cubicBezTo>
                    <a:pt x="15" y="21"/>
                    <a:pt x="25" y="12"/>
                    <a:pt x="41" y="12"/>
                  </a:cubicBezTo>
                  <a:cubicBezTo>
                    <a:pt x="49" y="12"/>
                    <a:pt x="57" y="14"/>
                    <a:pt x="64" y="17"/>
                  </a:cubicBezTo>
                  <a:cubicBezTo>
                    <a:pt x="66" y="18"/>
                    <a:pt x="67" y="17"/>
                    <a:pt x="67" y="16"/>
                  </a:cubicBezTo>
                  <a:cubicBezTo>
                    <a:pt x="70" y="8"/>
                    <a:pt x="70" y="8"/>
                    <a:pt x="70" y="8"/>
                  </a:cubicBezTo>
                  <a:cubicBezTo>
                    <a:pt x="70" y="7"/>
                    <a:pt x="70" y="5"/>
                    <a:pt x="69" y="5"/>
                  </a:cubicBezTo>
                  <a:cubicBezTo>
                    <a:pt x="59" y="1"/>
                    <a:pt x="50" y="0"/>
                    <a:pt x="41" y="0"/>
                  </a:cubicBezTo>
                  <a:cubicBezTo>
                    <a:pt x="16" y="0"/>
                    <a:pt x="0" y="14"/>
                    <a:pt x="0" y="35"/>
                  </a:cubicBezTo>
                  <a:cubicBezTo>
                    <a:pt x="0" y="57"/>
                    <a:pt x="16" y="70"/>
                    <a:pt x="41" y="70"/>
                  </a:cubicBezTo>
                  <a:cubicBezTo>
                    <a:pt x="51" y="70"/>
                    <a:pt x="62" y="68"/>
                    <a:pt x="70" y="64"/>
                  </a:cubicBezTo>
                  <a:cubicBezTo>
                    <a:pt x="71" y="63"/>
                    <a:pt x="71" y="63"/>
                    <a:pt x="71" y="63"/>
                  </a:cubicBezTo>
                  <a:cubicBezTo>
                    <a:pt x="71" y="30"/>
                    <a:pt x="71" y="30"/>
                    <a:pt x="71" y="30"/>
                  </a:cubicBezTo>
                  <a:lnTo>
                    <a:pt x="42" y="30"/>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grpSp>
    </p:spTree>
    <p:extLst>
      <p:ext uri="{BB962C8B-B14F-4D97-AF65-F5344CB8AC3E}">
        <p14:creationId xmlns:p14="http://schemas.microsoft.com/office/powerpoint/2010/main" val="349651115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3" name="Content Placeholder 2"/>
          <p:cNvSpPr>
            <a:spLocks noGrp="1"/>
          </p:cNvSpPr>
          <p:nvPr>
            <p:ph sz="half" idx="1"/>
          </p:nvPr>
        </p:nvSpPr>
        <p:spPr>
          <a:xfrm>
            <a:off x="419100" y="1476374"/>
            <a:ext cx="2404872" cy="3236913"/>
          </a:xfrm>
        </p:spPr>
        <p:txBody>
          <a:bodyPr>
            <a:normAutofit/>
          </a:bodyPr>
          <a:lstStyle>
            <a:lvl1pPr>
              <a:defRPr sz="1800" b="0"/>
            </a:lvl1pPr>
            <a:lvl2pPr marL="0" indent="0">
              <a:buNone/>
              <a:defRPr sz="1600" b="0"/>
            </a:lvl2pPr>
            <a:lvl3pPr marL="291600">
              <a:defRPr sz="1400" b="0"/>
            </a:lvl3pPr>
            <a:lvl4pPr marL="525600">
              <a:defRPr sz="1200" b="0"/>
            </a:lvl4pPr>
            <a:lvl5pPr marL="525600">
              <a:defRPr sz="1200" b="0"/>
            </a:lvl5pPr>
            <a:lvl6pPr marL="525600">
              <a:defRPr sz="1200" b="0"/>
            </a:lvl6pPr>
            <a:lvl7pPr marL="525600">
              <a:defRPr sz="1200" b="0"/>
            </a:lvl7pPr>
            <a:lvl8pPr marL="525600">
              <a:defRPr sz="1200" b="0"/>
            </a:lvl8pPr>
            <a:lvl9pPr marL="525600">
              <a:defRPr sz="1200" b="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Content Placeholder 3"/>
          <p:cNvSpPr>
            <a:spLocks noGrp="1"/>
          </p:cNvSpPr>
          <p:nvPr>
            <p:ph sz="half" idx="2"/>
          </p:nvPr>
        </p:nvSpPr>
        <p:spPr>
          <a:xfrm>
            <a:off x="4038600" y="1476374"/>
            <a:ext cx="4675188" cy="3236913"/>
          </a:xfrm>
        </p:spPr>
        <p:txBody>
          <a:bodyPr>
            <a:normAutofit/>
          </a:bodyPr>
          <a:lstStyle>
            <a:lvl1pPr>
              <a:defRPr sz="1800" b="0"/>
            </a:lvl1pPr>
            <a:lvl2pPr marL="0" indent="0">
              <a:buNone/>
              <a:defRPr sz="1600" b="0"/>
            </a:lvl2pPr>
            <a:lvl3pPr marL="291600">
              <a:defRPr sz="1400" b="0"/>
            </a:lvl3pPr>
            <a:lvl4pPr marL="525600">
              <a:defRPr sz="1200" b="0"/>
            </a:lvl4pPr>
            <a:lvl5pPr marL="525600">
              <a:defRPr sz="1200" b="0"/>
            </a:lvl5pPr>
            <a:lvl6pPr marL="525600">
              <a:defRPr sz="1200" b="0"/>
            </a:lvl6pPr>
            <a:lvl7pPr marL="525600">
              <a:defRPr sz="1200" b="0"/>
            </a:lvl7pPr>
            <a:lvl8pPr marL="525600">
              <a:defRPr sz="1200" b="0"/>
            </a:lvl8pPr>
            <a:lvl9pPr marL="525600">
              <a:defRPr sz="1200" b="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Footer Placeholder 5"/>
          <p:cNvSpPr>
            <a:spLocks noGrp="1"/>
          </p:cNvSpPr>
          <p:nvPr>
            <p:ph type="ftr" sz="quarter" idx="11"/>
          </p:nvPr>
        </p:nvSpPr>
        <p:spPr/>
        <p:txBody>
          <a:bodyPr/>
          <a:lstStyle/>
          <a:p>
            <a:r>
              <a:rPr lang="en-GB" dirty="0" smtClean="0"/>
              <a:t>To update this brand zone text, on the Insert tab, click Header &amp; Footer</a:t>
            </a:r>
            <a:endParaRPr lang="en-GB" dirty="0"/>
          </a:p>
        </p:txBody>
      </p:sp>
      <p:sp>
        <p:nvSpPr>
          <p:cNvPr id="7" name="Slide Number Placeholder 6"/>
          <p:cNvSpPr>
            <a:spLocks noGrp="1"/>
          </p:cNvSpPr>
          <p:nvPr>
            <p:ph type="sldNum" sz="quarter" idx="12"/>
          </p:nvPr>
        </p:nvSpPr>
        <p:spPr/>
        <p:txBody>
          <a:bodyPr/>
          <a:lstStyle/>
          <a:p>
            <a:fld id="{DF28FB93-0A08-4E7D-8E63-9EFA29F1E093}" type="slidenum">
              <a:rPr lang="en-GB" smtClean="0"/>
              <a:pPr/>
              <a:t>‹#›</a:t>
            </a:fld>
            <a:endParaRPr lang="en-GB" dirty="0"/>
          </a:p>
        </p:txBody>
      </p:sp>
      <p:sp>
        <p:nvSpPr>
          <p:cNvPr id="8"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Tree>
    <p:extLst>
      <p:ext uri="{BB962C8B-B14F-4D97-AF65-F5344CB8AC3E}">
        <p14:creationId xmlns:p14="http://schemas.microsoft.com/office/powerpoint/2010/main" val="2015217750"/>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19100" y="371475"/>
            <a:ext cx="8294688" cy="400051"/>
          </a:xfrm>
        </p:spPr>
        <p:txBody>
          <a:bodyPr/>
          <a:lstStyle>
            <a:lvl1pPr>
              <a:defRPr/>
            </a:lvl1pPr>
          </a:lstStyle>
          <a:p>
            <a:r>
              <a:rPr lang="en-GB" smtClean="0"/>
              <a:t>Click to edit Master title style</a:t>
            </a:r>
            <a:endParaRPr lang="en-GB"/>
          </a:p>
        </p:txBody>
      </p:sp>
      <p:sp>
        <p:nvSpPr>
          <p:cNvPr id="3" name="Text Placeholder 2"/>
          <p:cNvSpPr>
            <a:spLocks noGrp="1"/>
          </p:cNvSpPr>
          <p:nvPr>
            <p:ph type="body" idx="1"/>
          </p:nvPr>
        </p:nvSpPr>
        <p:spPr>
          <a:xfrm>
            <a:off x="419100" y="1285875"/>
            <a:ext cx="3273552" cy="479822"/>
          </a:xfrm>
        </p:spPr>
        <p:txBody>
          <a:bodyPr anchor="ctr" anchorCtr="0"/>
          <a:lstStyle>
            <a:lvl1pPr marL="0" indent="0">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4" name="Content Placeholder 3"/>
          <p:cNvSpPr>
            <a:spLocks noGrp="1"/>
          </p:cNvSpPr>
          <p:nvPr>
            <p:ph sz="half" idx="2"/>
          </p:nvPr>
        </p:nvSpPr>
        <p:spPr>
          <a:xfrm>
            <a:off x="419100" y="1885950"/>
            <a:ext cx="3273552" cy="2819399"/>
          </a:xfrm>
        </p:spPr>
        <p:txBody>
          <a:bodyPr>
            <a:normAutofit/>
          </a:bodyPr>
          <a:lstStyle>
            <a:lvl1pPr marL="0" indent="0">
              <a:buFont typeface="Arial" pitchFamily="34" charset="0"/>
              <a:buNone/>
              <a:defRPr sz="1800" b="0">
                <a:solidFill>
                  <a:schemeClr val="tx1"/>
                </a:solidFill>
              </a:defRPr>
            </a:lvl1pPr>
            <a:lvl2pPr marL="0" indent="0">
              <a:buFont typeface="Arial" pitchFamily="34" charset="0"/>
              <a:buNone/>
              <a:defRPr sz="1600">
                <a:solidFill>
                  <a:schemeClr val="tx1"/>
                </a:solidFill>
              </a:defRPr>
            </a:lvl2pPr>
            <a:lvl3pPr marL="291600" indent="-133200">
              <a:buFont typeface="Arial" pitchFamily="34" charset="0"/>
              <a:buChar char="•"/>
              <a:defRPr sz="1400" b="0">
                <a:solidFill>
                  <a:schemeClr val="tx1"/>
                </a:solidFill>
              </a:defRPr>
            </a:lvl3pPr>
            <a:lvl4pPr marL="525600" indent="-133200">
              <a:buFont typeface="Arial" pitchFamily="34" charset="0"/>
              <a:buChar char="•"/>
              <a:defRPr sz="1200" b="0">
                <a:solidFill>
                  <a:schemeClr val="tx1"/>
                </a:solidFill>
              </a:defRPr>
            </a:lvl4pPr>
            <a:lvl5pPr marL="525600" indent="-133200">
              <a:buFont typeface="Arial" pitchFamily="34" charset="0"/>
              <a:buChar char="•"/>
              <a:defRPr sz="1200" b="0" baseline="0">
                <a:solidFill>
                  <a:schemeClr val="tx1"/>
                </a:solidFill>
              </a:defRPr>
            </a:lvl5pPr>
            <a:lvl6pPr marL="525600" indent="-133200">
              <a:buFont typeface="Arial" pitchFamily="34" charset="0"/>
              <a:buChar char="•"/>
              <a:defRPr sz="1200" b="0"/>
            </a:lvl6pPr>
            <a:lvl7pPr marL="525600" indent="-133200">
              <a:buFont typeface="Arial" pitchFamily="34" charset="0"/>
              <a:buChar char="•"/>
              <a:defRPr sz="1200" b="0"/>
            </a:lvl7pPr>
            <a:lvl8pPr marL="525600" indent="-133200">
              <a:buFont typeface="Arial" pitchFamily="34" charset="0"/>
              <a:buChar char="•"/>
              <a:defRPr sz="1200" b="0"/>
            </a:lvl8pPr>
            <a:lvl9pPr marL="525600" indent="-133200">
              <a:buFont typeface="Arial" pitchFamily="34" charset="0"/>
              <a:buChar char="•"/>
              <a:defRPr sz="1200" b="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Text Placeholder 4"/>
          <p:cNvSpPr>
            <a:spLocks noGrp="1"/>
          </p:cNvSpPr>
          <p:nvPr>
            <p:ph type="body" sz="quarter" idx="3"/>
          </p:nvPr>
        </p:nvSpPr>
        <p:spPr>
          <a:xfrm>
            <a:off x="5440236" y="1285875"/>
            <a:ext cx="3273552" cy="479822"/>
          </a:xfrm>
        </p:spPr>
        <p:txBody>
          <a:bodyPr anchor="ctr" anchorCtr="0"/>
          <a:lstStyle>
            <a:lvl1pPr marL="0" indent="0">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6" name="Content Placeholder 5"/>
          <p:cNvSpPr>
            <a:spLocks noGrp="1"/>
          </p:cNvSpPr>
          <p:nvPr>
            <p:ph sz="quarter" idx="4"/>
          </p:nvPr>
        </p:nvSpPr>
        <p:spPr>
          <a:xfrm>
            <a:off x="5440236" y="1885563"/>
            <a:ext cx="3273552" cy="2819787"/>
          </a:xfrm>
        </p:spPr>
        <p:txBody>
          <a:bodyPr>
            <a:normAutofit/>
          </a:bodyPr>
          <a:lstStyle>
            <a:lvl1pPr marL="0" indent="0">
              <a:buFont typeface="Arial" pitchFamily="34" charset="0"/>
              <a:buNone/>
              <a:defRPr sz="1800" b="0">
                <a:solidFill>
                  <a:schemeClr val="tx1"/>
                </a:solidFill>
              </a:defRPr>
            </a:lvl1pPr>
            <a:lvl2pPr marL="0" indent="0">
              <a:buFont typeface="Arial" pitchFamily="34" charset="0"/>
              <a:buNone/>
              <a:defRPr sz="1600" b="0">
                <a:solidFill>
                  <a:schemeClr val="tx1"/>
                </a:solidFill>
              </a:defRPr>
            </a:lvl2pPr>
            <a:lvl3pPr marL="291600" indent="-133200">
              <a:buFont typeface="Arial" pitchFamily="34" charset="0"/>
              <a:buChar char="•"/>
              <a:defRPr sz="1400" b="0">
                <a:solidFill>
                  <a:schemeClr val="tx1"/>
                </a:solidFill>
              </a:defRPr>
            </a:lvl3pPr>
            <a:lvl4pPr marL="525600" indent="-133200">
              <a:buFont typeface="Arial" pitchFamily="34" charset="0"/>
              <a:buChar char="•"/>
              <a:defRPr sz="1200" b="0" baseline="0">
                <a:solidFill>
                  <a:schemeClr val="tx1"/>
                </a:solidFill>
              </a:defRPr>
            </a:lvl4pPr>
            <a:lvl5pPr marL="525600" indent="-133200">
              <a:buFont typeface="Arial" pitchFamily="34" charset="0"/>
              <a:buChar char="•"/>
              <a:defRPr sz="1200" b="0">
                <a:solidFill>
                  <a:schemeClr val="tx1"/>
                </a:solidFill>
              </a:defRPr>
            </a:lvl5pPr>
            <a:lvl6pPr marL="525600" indent="-133200">
              <a:buFont typeface="Arial" pitchFamily="34" charset="0"/>
              <a:buChar char="•"/>
              <a:defRPr sz="1200" b="0"/>
            </a:lvl6pPr>
            <a:lvl7pPr marL="525600" indent="-133200">
              <a:buFont typeface="Arial" pitchFamily="34" charset="0"/>
              <a:buChar char="•"/>
              <a:defRPr sz="1200" b="0"/>
            </a:lvl7pPr>
            <a:lvl8pPr marL="525600" indent="-133200">
              <a:buFont typeface="Arial" pitchFamily="34" charset="0"/>
              <a:buChar char="•"/>
              <a:defRPr sz="1200" b="0" baseline="0"/>
            </a:lvl8pPr>
            <a:lvl9pPr marL="525600" indent="-133200">
              <a:buFont typeface="Arial" pitchFamily="34" charset="0"/>
              <a:buChar char="•"/>
              <a:defRPr sz="1200" b="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8" name="Footer Placeholder 7"/>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9" name="Slide Number Placeholder 8"/>
          <p:cNvSpPr>
            <a:spLocks noGrp="1"/>
          </p:cNvSpPr>
          <p:nvPr>
            <p:ph type="sldNum" sz="quarter" idx="12"/>
          </p:nvPr>
        </p:nvSpPr>
        <p:spPr/>
        <p:txBody>
          <a:bodyPr/>
          <a:lstStyle/>
          <a:p>
            <a:fld id="{DF28FB93-0A08-4E7D-8E63-9EFA29F1E093}" type="slidenum">
              <a:rPr lang="en-GB" smtClean="0"/>
              <a:pPr/>
              <a:t>‹#›</a:t>
            </a:fld>
            <a:endParaRPr lang="en-GB" dirty="0"/>
          </a:p>
        </p:txBody>
      </p:sp>
      <p:sp>
        <p:nvSpPr>
          <p:cNvPr id="10"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Tree>
    <p:extLst>
      <p:ext uri="{BB962C8B-B14F-4D97-AF65-F5344CB8AC3E}">
        <p14:creationId xmlns:p14="http://schemas.microsoft.com/office/powerpoint/2010/main" val="69467561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Comparison Char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smtClean="0"/>
              <a:t>Click to edit Master title style</a:t>
            </a:r>
            <a:endParaRPr lang="en-GB"/>
          </a:p>
        </p:txBody>
      </p:sp>
      <p:sp>
        <p:nvSpPr>
          <p:cNvPr id="3" name="Text Placeholder 2"/>
          <p:cNvSpPr>
            <a:spLocks noGrp="1"/>
          </p:cNvSpPr>
          <p:nvPr>
            <p:ph type="body" idx="1"/>
          </p:nvPr>
        </p:nvSpPr>
        <p:spPr>
          <a:xfrm>
            <a:off x="419100" y="1285875"/>
            <a:ext cx="3273552" cy="479822"/>
          </a:xfrm>
        </p:spPr>
        <p:txBody>
          <a:bodyPr anchor="ctr" anchorCtr="0"/>
          <a:lstStyle>
            <a:lvl1pPr marL="0" indent="0">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4" name="Content Placeholder 3"/>
          <p:cNvSpPr>
            <a:spLocks noGrp="1"/>
          </p:cNvSpPr>
          <p:nvPr>
            <p:ph sz="half" idx="2"/>
          </p:nvPr>
        </p:nvSpPr>
        <p:spPr>
          <a:xfrm>
            <a:off x="419100" y="1885950"/>
            <a:ext cx="3273552" cy="2819399"/>
          </a:xfrm>
        </p:spPr>
        <p:txBody>
          <a:bodyPr>
            <a:normAutofit/>
          </a:bodyPr>
          <a:lstStyle>
            <a:lvl1pPr marL="0" indent="0">
              <a:buFont typeface="Arial" pitchFamily="34" charset="0"/>
              <a:buNone/>
              <a:defRPr sz="1800" b="0">
                <a:solidFill>
                  <a:schemeClr val="tx1"/>
                </a:solidFill>
              </a:defRPr>
            </a:lvl1pPr>
            <a:lvl2pPr marL="0" indent="0">
              <a:buFont typeface="Arial" pitchFamily="34" charset="0"/>
              <a:buNone/>
              <a:defRPr sz="1600">
                <a:solidFill>
                  <a:schemeClr val="tx1"/>
                </a:solidFill>
              </a:defRPr>
            </a:lvl2pPr>
            <a:lvl3pPr marL="291600" indent="-133200">
              <a:buFont typeface="Arial" pitchFamily="34" charset="0"/>
              <a:buChar char="•"/>
              <a:defRPr sz="1400" b="0">
                <a:solidFill>
                  <a:schemeClr val="tx1"/>
                </a:solidFill>
              </a:defRPr>
            </a:lvl3pPr>
            <a:lvl4pPr marL="525600" indent="-133200">
              <a:buFont typeface="Arial" pitchFamily="34" charset="0"/>
              <a:buChar char="•"/>
              <a:defRPr sz="1200" b="0">
                <a:solidFill>
                  <a:schemeClr val="tx1"/>
                </a:solidFill>
              </a:defRPr>
            </a:lvl4pPr>
            <a:lvl5pPr marL="525600" indent="-133200">
              <a:buFont typeface="Arial" pitchFamily="34" charset="0"/>
              <a:buChar char="•"/>
              <a:defRPr sz="1200" b="0" baseline="0">
                <a:solidFill>
                  <a:schemeClr val="tx1"/>
                </a:solidFill>
              </a:defRPr>
            </a:lvl5pPr>
            <a:lvl6pPr marL="525600" indent="-133200">
              <a:buFont typeface="Arial" pitchFamily="34" charset="0"/>
              <a:buChar char="•"/>
              <a:defRPr sz="1200" b="0"/>
            </a:lvl6pPr>
            <a:lvl7pPr marL="525600" indent="-133200">
              <a:buFont typeface="Arial" pitchFamily="34" charset="0"/>
              <a:buChar char="•"/>
              <a:defRPr sz="1200" b="0"/>
            </a:lvl7pPr>
            <a:lvl8pPr marL="525600" indent="-133200">
              <a:buFont typeface="Arial" pitchFamily="34" charset="0"/>
              <a:buChar char="•"/>
              <a:defRPr sz="1200" b="0"/>
            </a:lvl8pPr>
            <a:lvl9pPr marL="525600" indent="-133200">
              <a:buFont typeface="Arial" pitchFamily="34" charset="0"/>
              <a:buChar char="•"/>
              <a:defRPr sz="1200" b="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Text Placeholder 4"/>
          <p:cNvSpPr>
            <a:spLocks noGrp="1"/>
          </p:cNvSpPr>
          <p:nvPr>
            <p:ph type="body" sz="quarter" idx="3"/>
          </p:nvPr>
        </p:nvSpPr>
        <p:spPr>
          <a:xfrm>
            <a:off x="5440237" y="1285875"/>
            <a:ext cx="3273552" cy="479822"/>
          </a:xfrm>
        </p:spPr>
        <p:txBody>
          <a:bodyPr anchor="ctr" anchorCtr="0"/>
          <a:lstStyle>
            <a:lvl1pPr marL="0" indent="0">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6" name="Content Placeholder 5"/>
          <p:cNvSpPr>
            <a:spLocks noGrp="1"/>
          </p:cNvSpPr>
          <p:nvPr>
            <p:ph sz="quarter" idx="4"/>
          </p:nvPr>
        </p:nvSpPr>
        <p:spPr>
          <a:xfrm>
            <a:off x="5440237" y="1885563"/>
            <a:ext cx="3273552" cy="2819787"/>
          </a:xfrm>
        </p:spPr>
        <p:txBody>
          <a:bodyPr>
            <a:normAutofit/>
          </a:bodyPr>
          <a:lstStyle>
            <a:lvl1pPr marL="0" indent="0">
              <a:buFont typeface="Arial" pitchFamily="34" charset="0"/>
              <a:buNone/>
              <a:defRPr sz="1800" b="0">
                <a:solidFill>
                  <a:schemeClr val="tx1"/>
                </a:solidFill>
              </a:defRPr>
            </a:lvl1pPr>
            <a:lvl2pPr marL="0" indent="0">
              <a:buFont typeface="Arial" pitchFamily="34" charset="0"/>
              <a:buNone/>
              <a:defRPr sz="1600" b="0">
                <a:solidFill>
                  <a:schemeClr val="tx1"/>
                </a:solidFill>
              </a:defRPr>
            </a:lvl2pPr>
            <a:lvl3pPr marL="291600" indent="-133200">
              <a:buFont typeface="Arial" pitchFamily="34" charset="0"/>
              <a:buChar char="•"/>
              <a:defRPr sz="1400" b="0">
                <a:solidFill>
                  <a:schemeClr val="tx1"/>
                </a:solidFill>
              </a:defRPr>
            </a:lvl3pPr>
            <a:lvl4pPr marL="525600" indent="-133200">
              <a:buFont typeface="Arial" pitchFamily="34" charset="0"/>
              <a:buChar char="•"/>
              <a:defRPr sz="1200" b="0" baseline="0">
                <a:solidFill>
                  <a:schemeClr val="tx1"/>
                </a:solidFill>
              </a:defRPr>
            </a:lvl4pPr>
            <a:lvl5pPr marL="525600" indent="-133200">
              <a:buFont typeface="Arial" pitchFamily="34" charset="0"/>
              <a:buChar char="•"/>
              <a:defRPr sz="1200" b="0">
                <a:solidFill>
                  <a:schemeClr val="tx1"/>
                </a:solidFill>
              </a:defRPr>
            </a:lvl5pPr>
            <a:lvl6pPr marL="525600" indent="-133200">
              <a:buFont typeface="Arial" pitchFamily="34" charset="0"/>
              <a:buChar char="•"/>
              <a:defRPr sz="1200" b="0"/>
            </a:lvl6pPr>
            <a:lvl7pPr marL="525600" indent="-133200">
              <a:buFont typeface="Arial" pitchFamily="34" charset="0"/>
              <a:buChar char="•"/>
              <a:defRPr sz="1200" b="0"/>
            </a:lvl7pPr>
            <a:lvl8pPr marL="525600" indent="-133200">
              <a:buFont typeface="Arial" pitchFamily="34" charset="0"/>
              <a:buChar char="•"/>
              <a:defRPr sz="1200" b="0" baseline="0"/>
            </a:lvl8pPr>
            <a:lvl9pPr marL="525600" indent="-133200">
              <a:buFont typeface="Arial" pitchFamily="34" charset="0"/>
              <a:buChar char="•"/>
              <a:defRPr sz="1200" b="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0"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Tree>
    <p:extLst>
      <p:ext uri="{BB962C8B-B14F-4D97-AF65-F5344CB8AC3E}">
        <p14:creationId xmlns:p14="http://schemas.microsoft.com/office/powerpoint/2010/main" val="406350700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Four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smtClean="0"/>
              <a:t>Click to edit Master title style</a:t>
            </a:r>
            <a:endParaRPr lang="en-GB"/>
          </a:p>
        </p:txBody>
      </p:sp>
      <p:sp>
        <p:nvSpPr>
          <p:cNvPr id="4" name="Content Placeholder 3"/>
          <p:cNvSpPr>
            <a:spLocks noGrp="1"/>
          </p:cNvSpPr>
          <p:nvPr>
            <p:ph sz="half" idx="2"/>
          </p:nvPr>
        </p:nvSpPr>
        <p:spPr>
          <a:xfrm>
            <a:off x="419100" y="1171574"/>
            <a:ext cx="3273552" cy="1620000"/>
          </a:xfrm>
        </p:spPr>
        <p:txBody>
          <a:bodyPr>
            <a:normAutofit/>
          </a:bodyPr>
          <a:lstStyle>
            <a:lvl1pPr marL="0" indent="0">
              <a:buFont typeface="Arial" pitchFamily="34" charset="0"/>
              <a:buNone/>
              <a:defRPr sz="1800" b="0">
                <a:solidFill>
                  <a:schemeClr val="tx1"/>
                </a:solidFill>
              </a:defRPr>
            </a:lvl1pPr>
            <a:lvl2pPr marL="0" indent="0">
              <a:buFont typeface="Arial" pitchFamily="34" charset="0"/>
              <a:buNone/>
              <a:defRPr sz="1600">
                <a:solidFill>
                  <a:schemeClr val="tx1"/>
                </a:solidFill>
              </a:defRPr>
            </a:lvl2pPr>
            <a:lvl3pPr marL="291600" indent="-133200">
              <a:buFont typeface="Arial" pitchFamily="34" charset="0"/>
              <a:buChar char="•"/>
              <a:defRPr sz="1400" b="0">
                <a:solidFill>
                  <a:schemeClr val="tx1"/>
                </a:solidFill>
              </a:defRPr>
            </a:lvl3pPr>
            <a:lvl4pPr marL="525600" indent="-133200">
              <a:buFont typeface="Arial" pitchFamily="34" charset="0"/>
              <a:buChar char="•"/>
              <a:defRPr sz="1200" b="0">
                <a:solidFill>
                  <a:schemeClr val="tx1"/>
                </a:solidFill>
              </a:defRPr>
            </a:lvl4pPr>
            <a:lvl5pPr marL="525600" indent="-133200">
              <a:buFont typeface="Arial" pitchFamily="34" charset="0"/>
              <a:buChar char="•"/>
              <a:defRPr sz="1200" b="0" baseline="0">
                <a:solidFill>
                  <a:schemeClr val="tx1"/>
                </a:solidFill>
              </a:defRPr>
            </a:lvl5pPr>
            <a:lvl6pPr marL="525600" indent="-133200">
              <a:buFont typeface="Arial" pitchFamily="34" charset="0"/>
              <a:buChar char="•"/>
              <a:defRPr sz="1200" b="0"/>
            </a:lvl6pPr>
            <a:lvl7pPr marL="525600" indent="-133200">
              <a:buFont typeface="Arial" pitchFamily="34" charset="0"/>
              <a:buChar char="•"/>
              <a:defRPr sz="1200" b="0"/>
            </a:lvl7pPr>
            <a:lvl8pPr marL="525600" indent="-133200">
              <a:buFont typeface="Arial" pitchFamily="34" charset="0"/>
              <a:buChar char="•"/>
              <a:defRPr sz="1200" b="0"/>
            </a:lvl8pPr>
            <a:lvl9pPr marL="525600" indent="-133200">
              <a:buFont typeface="Arial" pitchFamily="34" charset="0"/>
              <a:buChar char="•"/>
              <a:defRPr sz="1200" b="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Content Placeholder 5"/>
          <p:cNvSpPr>
            <a:spLocks noGrp="1"/>
          </p:cNvSpPr>
          <p:nvPr>
            <p:ph sz="quarter" idx="4"/>
          </p:nvPr>
        </p:nvSpPr>
        <p:spPr>
          <a:xfrm>
            <a:off x="5440237" y="1171574"/>
            <a:ext cx="3273552" cy="1620000"/>
          </a:xfrm>
        </p:spPr>
        <p:txBody>
          <a:bodyPr>
            <a:normAutofit/>
          </a:bodyPr>
          <a:lstStyle>
            <a:lvl1pPr marL="0" indent="0">
              <a:buFont typeface="Arial" pitchFamily="34" charset="0"/>
              <a:buNone/>
              <a:defRPr sz="1800" b="0">
                <a:solidFill>
                  <a:schemeClr val="tx1"/>
                </a:solidFill>
              </a:defRPr>
            </a:lvl1pPr>
            <a:lvl2pPr marL="0" indent="0">
              <a:buFont typeface="Arial" pitchFamily="34" charset="0"/>
              <a:buNone/>
              <a:defRPr sz="1600" b="0">
                <a:solidFill>
                  <a:schemeClr val="tx1"/>
                </a:solidFill>
              </a:defRPr>
            </a:lvl2pPr>
            <a:lvl3pPr marL="291600" indent="-133200">
              <a:buFont typeface="Arial" pitchFamily="34" charset="0"/>
              <a:buChar char="•"/>
              <a:defRPr sz="1400" b="0">
                <a:solidFill>
                  <a:schemeClr val="tx1"/>
                </a:solidFill>
              </a:defRPr>
            </a:lvl3pPr>
            <a:lvl4pPr marL="525600" indent="-133200">
              <a:buFont typeface="Arial" pitchFamily="34" charset="0"/>
              <a:buChar char="•"/>
              <a:defRPr sz="1200" b="0" baseline="0">
                <a:solidFill>
                  <a:schemeClr val="tx1"/>
                </a:solidFill>
              </a:defRPr>
            </a:lvl4pPr>
            <a:lvl5pPr marL="525600" indent="-133200">
              <a:buFont typeface="Arial" pitchFamily="34" charset="0"/>
              <a:buChar char="•"/>
              <a:defRPr sz="1200" b="0">
                <a:solidFill>
                  <a:schemeClr val="tx1"/>
                </a:solidFill>
              </a:defRPr>
            </a:lvl5pPr>
            <a:lvl6pPr marL="525600" indent="-133200">
              <a:buFont typeface="Arial" pitchFamily="34" charset="0"/>
              <a:buChar char="•"/>
              <a:defRPr sz="1200" b="0"/>
            </a:lvl6pPr>
            <a:lvl7pPr marL="525600" indent="-133200">
              <a:buFont typeface="Arial" pitchFamily="34" charset="0"/>
              <a:buChar char="•"/>
              <a:defRPr sz="1200" b="0"/>
            </a:lvl7pPr>
            <a:lvl8pPr marL="525600" indent="-133200">
              <a:buFont typeface="Arial" pitchFamily="34" charset="0"/>
              <a:buChar char="•"/>
              <a:defRPr sz="1200" b="0" baseline="0"/>
            </a:lvl8pPr>
            <a:lvl9pPr marL="525600" indent="-133200">
              <a:buFont typeface="Arial" pitchFamily="34" charset="0"/>
              <a:buChar char="•"/>
              <a:defRPr sz="1200" b="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0"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
        <p:nvSpPr>
          <p:cNvPr id="8" name="Content Placeholder 3"/>
          <p:cNvSpPr>
            <a:spLocks noGrp="1"/>
          </p:cNvSpPr>
          <p:nvPr>
            <p:ph sz="half" idx="14"/>
          </p:nvPr>
        </p:nvSpPr>
        <p:spPr>
          <a:xfrm>
            <a:off x="419099" y="3085350"/>
            <a:ext cx="3273552" cy="1620000"/>
          </a:xfrm>
        </p:spPr>
        <p:txBody>
          <a:bodyPr>
            <a:normAutofit/>
          </a:bodyPr>
          <a:lstStyle>
            <a:lvl1pPr marL="0" indent="0">
              <a:buFont typeface="Arial" pitchFamily="34" charset="0"/>
              <a:buNone/>
              <a:defRPr sz="1800" b="0">
                <a:solidFill>
                  <a:schemeClr val="tx1"/>
                </a:solidFill>
              </a:defRPr>
            </a:lvl1pPr>
            <a:lvl2pPr marL="0" indent="0">
              <a:buFont typeface="Arial" pitchFamily="34" charset="0"/>
              <a:buNone/>
              <a:defRPr sz="1600">
                <a:solidFill>
                  <a:schemeClr val="tx1"/>
                </a:solidFill>
              </a:defRPr>
            </a:lvl2pPr>
            <a:lvl3pPr marL="291600" indent="-133200">
              <a:buFont typeface="Arial" pitchFamily="34" charset="0"/>
              <a:buChar char="•"/>
              <a:defRPr sz="1400" b="0">
                <a:solidFill>
                  <a:schemeClr val="tx1"/>
                </a:solidFill>
              </a:defRPr>
            </a:lvl3pPr>
            <a:lvl4pPr marL="525600" indent="-133200">
              <a:buFont typeface="Arial" pitchFamily="34" charset="0"/>
              <a:buChar char="•"/>
              <a:defRPr sz="1200" b="0">
                <a:solidFill>
                  <a:schemeClr val="tx1"/>
                </a:solidFill>
              </a:defRPr>
            </a:lvl4pPr>
            <a:lvl5pPr marL="525600" indent="-133200">
              <a:buFont typeface="Arial" pitchFamily="34" charset="0"/>
              <a:buChar char="•"/>
              <a:defRPr sz="1200" b="0" baseline="0">
                <a:solidFill>
                  <a:schemeClr val="tx1"/>
                </a:solidFill>
              </a:defRPr>
            </a:lvl5pPr>
            <a:lvl6pPr marL="525600" indent="-133200">
              <a:buFont typeface="Arial" pitchFamily="34" charset="0"/>
              <a:buChar char="•"/>
              <a:defRPr sz="1200" b="0"/>
            </a:lvl6pPr>
            <a:lvl7pPr marL="525600" indent="-133200">
              <a:buFont typeface="Arial" pitchFamily="34" charset="0"/>
              <a:buChar char="•"/>
              <a:defRPr sz="1200" b="0"/>
            </a:lvl7pPr>
            <a:lvl8pPr marL="525600" indent="-133200">
              <a:buFont typeface="Arial" pitchFamily="34" charset="0"/>
              <a:buChar char="•"/>
              <a:defRPr sz="1200" b="0"/>
            </a:lvl8pPr>
            <a:lvl9pPr marL="525600" indent="-133200">
              <a:buFont typeface="Arial" pitchFamily="34" charset="0"/>
              <a:buChar char="•"/>
              <a:defRPr sz="1200" b="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9" name="Content Placeholder 5"/>
          <p:cNvSpPr>
            <a:spLocks noGrp="1"/>
          </p:cNvSpPr>
          <p:nvPr>
            <p:ph sz="quarter" idx="15"/>
          </p:nvPr>
        </p:nvSpPr>
        <p:spPr>
          <a:xfrm>
            <a:off x="5440236" y="3085350"/>
            <a:ext cx="3273552" cy="1620000"/>
          </a:xfrm>
        </p:spPr>
        <p:txBody>
          <a:bodyPr>
            <a:normAutofit/>
          </a:bodyPr>
          <a:lstStyle>
            <a:lvl1pPr marL="0" indent="0">
              <a:buFont typeface="Arial" pitchFamily="34" charset="0"/>
              <a:buNone/>
              <a:defRPr sz="1800" b="0">
                <a:solidFill>
                  <a:schemeClr val="tx1"/>
                </a:solidFill>
              </a:defRPr>
            </a:lvl1pPr>
            <a:lvl2pPr marL="0" indent="0">
              <a:buFont typeface="Arial" pitchFamily="34" charset="0"/>
              <a:buNone/>
              <a:defRPr sz="1600" b="0">
                <a:solidFill>
                  <a:schemeClr val="tx1"/>
                </a:solidFill>
              </a:defRPr>
            </a:lvl2pPr>
            <a:lvl3pPr marL="291600" indent="-133200">
              <a:buFont typeface="Arial" pitchFamily="34" charset="0"/>
              <a:buChar char="•"/>
              <a:defRPr sz="1400" b="0">
                <a:solidFill>
                  <a:schemeClr val="tx1"/>
                </a:solidFill>
              </a:defRPr>
            </a:lvl3pPr>
            <a:lvl4pPr marL="525600" indent="-133200">
              <a:buFont typeface="Arial" pitchFamily="34" charset="0"/>
              <a:buChar char="•"/>
              <a:defRPr sz="1200" b="0" baseline="0">
                <a:solidFill>
                  <a:schemeClr val="tx1"/>
                </a:solidFill>
              </a:defRPr>
            </a:lvl4pPr>
            <a:lvl5pPr marL="525600" indent="-133200">
              <a:buFont typeface="Arial" pitchFamily="34" charset="0"/>
              <a:buChar char="•"/>
              <a:defRPr sz="1200" b="0">
                <a:solidFill>
                  <a:schemeClr val="tx1"/>
                </a:solidFill>
              </a:defRPr>
            </a:lvl5pPr>
            <a:lvl6pPr marL="525600" indent="-133200">
              <a:buFont typeface="Arial" pitchFamily="34" charset="0"/>
              <a:buChar char="•"/>
              <a:defRPr sz="1200" b="0"/>
            </a:lvl6pPr>
            <a:lvl7pPr marL="525600" indent="-133200">
              <a:buFont typeface="Arial" pitchFamily="34" charset="0"/>
              <a:buChar char="•"/>
              <a:defRPr sz="1200" b="0"/>
            </a:lvl7pPr>
            <a:lvl8pPr marL="525600" indent="-133200">
              <a:buFont typeface="Arial" pitchFamily="34" charset="0"/>
              <a:buChar char="•"/>
              <a:defRPr sz="1200" b="0" baseline="0"/>
            </a:lvl8pPr>
            <a:lvl9pPr marL="525600" indent="-133200">
              <a:buFont typeface="Arial" pitchFamily="34" charset="0"/>
              <a:buChar char="•"/>
              <a:defRPr sz="1200" b="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Tree>
    <p:extLst>
      <p:ext uri="{BB962C8B-B14F-4D97-AF65-F5344CB8AC3E}">
        <p14:creationId xmlns:p14="http://schemas.microsoft.com/office/powerpoint/2010/main" val="1460686513"/>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GB"/>
          </a:p>
        </p:txBody>
      </p:sp>
      <p:sp>
        <p:nvSpPr>
          <p:cNvPr id="4" name="Footer Placeholder 3"/>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5" name="Slide Number Placeholder 4"/>
          <p:cNvSpPr>
            <a:spLocks noGrp="1"/>
          </p:cNvSpPr>
          <p:nvPr>
            <p:ph type="sldNum" sz="quarter" idx="12"/>
          </p:nvPr>
        </p:nvSpPr>
        <p:spPr/>
        <p:txBody>
          <a:bodyPr/>
          <a:lstStyle/>
          <a:p>
            <a:fld id="{DF28FB93-0A08-4E7D-8E63-9EFA29F1E093}" type="slidenum">
              <a:rPr lang="en-GB" smtClean="0"/>
              <a:pPr/>
              <a:t>‹#›</a:t>
            </a:fld>
            <a:endParaRPr lang="en-GB" dirty="0"/>
          </a:p>
        </p:txBody>
      </p:sp>
      <p:sp>
        <p:nvSpPr>
          <p:cNvPr id="6"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Tree>
    <p:extLst>
      <p:ext uri="{BB962C8B-B14F-4D97-AF65-F5344CB8AC3E}">
        <p14:creationId xmlns:p14="http://schemas.microsoft.com/office/powerpoint/2010/main" val="258353334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cxnSp>
        <p:nvCxnSpPr>
          <p:cNvPr id="14" name="Straight Connector 13"/>
          <p:cNvCxnSpPr/>
          <p:nvPr/>
        </p:nvCxnSpPr>
        <p:spPr>
          <a:xfrm>
            <a:off x="0" y="4819650"/>
            <a:ext cx="9144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419100" y="371475"/>
            <a:ext cx="8294688" cy="400051"/>
          </a:xfrm>
          <a:prstGeom prst="rect">
            <a:avLst/>
          </a:prstGeom>
        </p:spPr>
        <p:txBody>
          <a:bodyPr vert="horz" lIns="0" tIns="0" rIns="0" bIns="0" rtlCol="0" anchor="b" anchorCtr="0">
            <a:noAutofit/>
          </a:bodyPr>
          <a:lstStyle/>
          <a:p>
            <a:r>
              <a:rPr lang="en-GB" noProof="0" smtClean="0"/>
              <a:t>Click to edit Master title style</a:t>
            </a:r>
            <a:endParaRPr lang="en-GB" noProof="0"/>
          </a:p>
        </p:txBody>
      </p:sp>
      <p:sp>
        <p:nvSpPr>
          <p:cNvPr id="3" name="Text Placeholder 2"/>
          <p:cNvSpPr>
            <a:spLocks noGrp="1"/>
          </p:cNvSpPr>
          <p:nvPr>
            <p:ph type="body" idx="1"/>
          </p:nvPr>
        </p:nvSpPr>
        <p:spPr>
          <a:xfrm>
            <a:off x="419100" y="1476375"/>
            <a:ext cx="8294688" cy="3236913"/>
          </a:xfrm>
          <a:prstGeom prst="rect">
            <a:avLst/>
          </a:prstGeom>
        </p:spPr>
        <p:txBody>
          <a:bodyPr vert="horz" lIns="0" tIns="0" rIns="0" bIns="0" rtlCol="0">
            <a:norm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a:p>
            <a:pPr lvl="5"/>
            <a:r>
              <a:rPr lang="en-GB" noProof="0" dirty="0" smtClean="0"/>
              <a:t>Sixth level</a:t>
            </a:r>
          </a:p>
          <a:p>
            <a:pPr lvl="6"/>
            <a:r>
              <a:rPr lang="en-GB" noProof="0" dirty="0" smtClean="0"/>
              <a:t>Seventh level</a:t>
            </a:r>
          </a:p>
          <a:p>
            <a:pPr lvl="7"/>
            <a:r>
              <a:rPr lang="en-GB" noProof="0" dirty="0" smtClean="0"/>
              <a:t>Eighth level</a:t>
            </a:r>
          </a:p>
          <a:p>
            <a:pPr lvl="8"/>
            <a:r>
              <a:rPr lang="en-GB" noProof="0" dirty="0" smtClean="0"/>
              <a:t>Ninth level</a:t>
            </a:r>
            <a:endParaRPr lang="en-GB" noProof="0" dirty="0"/>
          </a:p>
        </p:txBody>
      </p:sp>
      <p:sp>
        <p:nvSpPr>
          <p:cNvPr id="5" name="Footer Placeholder 4"/>
          <p:cNvSpPr>
            <a:spLocks noGrp="1"/>
          </p:cNvSpPr>
          <p:nvPr>
            <p:ph type="ftr" sz="quarter" idx="3"/>
          </p:nvPr>
        </p:nvSpPr>
        <p:spPr>
          <a:xfrm>
            <a:off x="879300" y="4839103"/>
            <a:ext cx="4374000" cy="273844"/>
          </a:xfrm>
          <a:prstGeom prst="rect">
            <a:avLst/>
          </a:prstGeom>
        </p:spPr>
        <p:txBody>
          <a:bodyPr vert="horz" lIns="0" tIns="0" rIns="0" bIns="0" rtlCol="0" anchor="ctr"/>
          <a:lstStyle>
            <a:lvl1pPr algn="l">
              <a:defRPr sz="1000">
                <a:solidFill>
                  <a:schemeClr val="tx1"/>
                </a:solidFill>
              </a:defRPr>
            </a:lvl1pPr>
          </a:lstStyle>
          <a:p>
            <a:r>
              <a:rPr lang="en-GB" noProof="0" dirty="0" smtClean="0"/>
              <a:t>To update this brand zone text, on the Insert tab, click Header &amp; Footer</a:t>
            </a:r>
            <a:endParaRPr lang="en-GB" noProof="0" dirty="0"/>
          </a:p>
        </p:txBody>
      </p:sp>
      <p:sp>
        <p:nvSpPr>
          <p:cNvPr id="6" name="Slide Number Placeholder 5"/>
          <p:cNvSpPr>
            <a:spLocks noGrp="1"/>
          </p:cNvSpPr>
          <p:nvPr>
            <p:ph type="sldNum" sz="quarter" idx="4"/>
          </p:nvPr>
        </p:nvSpPr>
        <p:spPr>
          <a:xfrm>
            <a:off x="419100" y="4839103"/>
            <a:ext cx="414600" cy="273844"/>
          </a:xfrm>
          <a:prstGeom prst="rect">
            <a:avLst/>
          </a:prstGeom>
        </p:spPr>
        <p:txBody>
          <a:bodyPr vert="horz" lIns="0" tIns="0" rIns="0" bIns="0" rtlCol="0" anchor="ctr"/>
          <a:lstStyle>
            <a:lvl1pPr algn="l">
              <a:defRPr sz="1000">
                <a:solidFill>
                  <a:schemeClr val="tx1"/>
                </a:solidFill>
              </a:defRPr>
            </a:lvl1pPr>
          </a:lstStyle>
          <a:p>
            <a:fld id="{DF28FB93-0A08-4E7D-8E63-9EFA29F1E093}" type="slidenum">
              <a:rPr lang="en-GB" noProof="0" smtClean="0"/>
              <a:pPr/>
              <a:t>‹#›</a:t>
            </a:fld>
            <a:endParaRPr lang="en-GB" noProof="0"/>
          </a:p>
        </p:txBody>
      </p:sp>
      <p:pic>
        <p:nvPicPr>
          <p:cNvPr id="21" name="logo"/>
          <p:cNvPicPr>
            <a:picLocks noChangeAspect="1"/>
          </p:cNvPicPr>
          <p:nvPr/>
        </p:nvPicPr>
        <p:blipFill>
          <a:blip r:embed="rId34" cstate="print">
            <a:extLst>
              <a:ext uri="{28A0092B-C50C-407E-A947-70E740481C1C}">
                <a14:useLocalDpi xmlns:a14="http://schemas.microsoft.com/office/drawing/2010/main"/>
              </a:ext>
            </a:extLst>
          </a:blip>
          <a:stretch>
            <a:fillRect/>
          </a:stretch>
        </p:blipFill>
        <p:spPr>
          <a:xfrm>
            <a:off x="7589898" y="4863660"/>
            <a:ext cx="243035" cy="243035"/>
          </a:xfrm>
          <a:prstGeom prst="rect">
            <a:avLst/>
          </a:prstGeom>
        </p:spPr>
      </p:pic>
      <p:grpSp>
        <p:nvGrpSpPr>
          <p:cNvPr id="22" name="Mindshare"/>
          <p:cNvGrpSpPr/>
          <p:nvPr/>
        </p:nvGrpSpPr>
        <p:grpSpPr>
          <a:xfrm>
            <a:off x="7041527" y="4956464"/>
            <a:ext cx="516621" cy="57428"/>
            <a:chOff x="566670" y="435864"/>
            <a:chExt cx="1169700" cy="130025"/>
          </a:xfrm>
        </p:grpSpPr>
        <p:sp>
          <p:nvSpPr>
            <p:cNvPr id="23" name="Freeform 6"/>
            <p:cNvSpPr>
              <a:spLocks/>
            </p:cNvSpPr>
            <p:nvPr/>
          </p:nvSpPr>
          <p:spPr bwMode="auto">
            <a:xfrm>
              <a:off x="566670" y="437296"/>
              <a:ext cx="146069" cy="127448"/>
            </a:xfrm>
            <a:custGeom>
              <a:avLst/>
              <a:gdLst>
                <a:gd name="T0" fmla="*/ 216 w 216"/>
                <a:gd name="T1" fmla="*/ 188 h 188"/>
                <a:gd name="T2" fmla="*/ 178 w 216"/>
                <a:gd name="T3" fmla="*/ 188 h 188"/>
                <a:gd name="T4" fmla="*/ 178 w 216"/>
                <a:gd name="T5" fmla="*/ 66 h 188"/>
                <a:gd name="T6" fmla="*/ 113 w 216"/>
                <a:gd name="T7" fmla="*/ 145 h 188"/>
                <a:gd name="T8" fmla="*/ 103 w 216"/>
                <a:gd name="T9" fmla="*/ 145 h 188"/>
                <a:gd name="T10" fmla="*/ 38 w 216"/>
                <a:gd name="T11" fmla="*/ 66 h 188"/>
                <a:gd name="T12" fmla="*/ 38 w 216"/>
                <a:gd name="T13" fmla="*/ 188 h 188"/>
                <a:gd name="T14" fmla="*/ 0 w 216"/>
                <a:gd name="T15" fmla="*/ 188 h 188"/>
                <a:gd name="T16" fmla="*/ 0 w 216"/>
                <a:gd name="T17" fmla="*/ 20 h 188"/>
                <a:gd name="T18" fmla="*/ 20 w 216"/>
                <a:gd name="T19" fmla="*/ 0 h 188"/>
                <a:gd name="T20" fmla="*/ 20 w 216"/>
                <a:gd name="T21" fmla="*/ 0 h 188"/>
                <a:gd name="T22" fmla="*/ 38 w 216"/>
                <a:gd name="T23" fmla="*/ 9 h 188"/>
                <a:gd name="T24" fmla="*/ 108 w 216"/>
                <a:gd name="T25" fmla="*/ 94 h 188"/>
                <a:gd name="T26" fmla="*/ 182 w 216"/>
                <a:gd name="T27" fmla="*/ 6 h 188"/>
                <a:gd name="T28" fmla="*/ 196 w 216"/>
                <a:gd name="T29" fmla="*/ 0 h 188"/>
                <a:gd name="T30" fmla="*/ 196 w 216"/>
                <a:gd name="T31" fmla="*/ 0 h 188"/>
                <a:gd name="T32" fmla="*/ 216 w 216"/>
                <a:gd name="T33" fmla="*/ 19 h 188"/>
                <a:gd name="T34" fmla="*/ 216 w 216"/>
                <a:gd name="T35"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6" h="188">
                  <a:moveTo>
                    <a:pt x="216" y="188"/>
                  </a:moveTo>
                  <a:cubicBezTo>
                    <a:pt x="178" y="188"/>
                    <a:pt x="178" y="188"/>
                    <a:pt x="178" y="188"/>
                  </a:cubicBezTo>
                  <a:cubicBezTo>
                    <a:pt x="178" y="66"/>
                    <a:pt x="178" y="66"/>
                    <a:pt x="178" y="66"/>
                  </a:cubicBezTo>
                  <a:cubicBezTo>
                    <a:pt x="113" y="145"/>
                    <a:pt x="113" y="145"/>
                    <a:pt x="113" y="145"/>
                  </a:cubicBezTo>
                  <a:cubicBezTo>
                    <a:pt x="110" y="148"/>
                    <a:pt x="106" y="148"/>
                    <a:pt x="103" y="145"/>
                  </a:cubicBezTo>
                  <a:cubicBezTo>
                    <a:pt x="38" y="66"/>
                    <a:pt x="38" y="66"/>
                    <a:pt x="38" y="66"/>
                  </a:cubicBezTo>
                  <a:cubicBezTo>
                    <a:pt x="38" y="188"/>
                    <a:pt x="38" y="188"/>
                    <a:pt x="38" y="188"/>
                  </a:cubicBezTo>
                  <a:cubicBezTo>
                    <a:pt x="0" y="188"/>
                    <a:pt x="0" y="188"/>
                    <a:pt x="0" y="188"/>
                  </a:cubicBezTo>
                  <a:cubicBezTo>
                    <a:pt x="0" y="20"/>
                    <a:pt x="0" y="20"/>
                    <a:pt x="0" y="20"/>
                  </a:cubicBezTo>
                  <a:cubicBezTo>
                    <a:pt x="0" y="9"/>
                    <a:pt x="9" y="0"/>
                    <a:pt x="20" y="0"/>
                  </a:cubicBezTo>
                  <a:cubicBezTo>
                    <a:pt x="20" y="0"/>
                    <a:pt x="20" y="0"/>
                    <a:pt x="20" y="0"/>
                  </a:cubicBezTo>
                  <a:cubicBezTo>
                    <a:pt x="28" y="0"/>
                    <a:pt x="32" y="3"/>
                    <a:pt x="38" y="9"/>
                  </a:cubicBezTo>
                  <a:cubicBezTo>
                    <a:pt x="108" y="94"/>
                    <a:pt x="108" y="94"/>
                    <a:pt x="108" y="94"/>
                  </a:cubicBezTo>
                  <a:cubicBezTo>
                    <a:pt x="182" y="6"/>
                    <a:pt x="182" y="6"/>
                    <a:pt x="182" y="6"/>
                  </a:cubicBezTo>
                  <a:cubicBezTo>
                    <a:pt x="185" y="2"/>
                    <a:pt x="190" y="0"/>
                    <a:pt x="196" y="0"/>
                  </a:cubicBezTo>
                  <a:cubicBezTo>
                    <a:pt x="196" y="0"/>
                    <a:pt x="196" y="0"/>
                    <a:pt x="196" y="0"/>
                  </a:cubicBezTo>
                  <a:cubicBezTo>
                    <a:pt x="207" y="0"/>
                    <a:pt x="216" y="8"/>
                    <a:pt x="216" y="19"/>
                  </a:cubicBezTo>
                  <a:lnTo>
                    <a:pt x="216" y="1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noProof="0"/>
            </a:p>
          </p:txBody>
        </p:sp>
        <p:sp>
          <p:nvSpPr>
            <p:cNvPr id="24" name="Freeform 7"/>
            <p:cNvSpPr>
              <a:spLocks noEditPoints="1"/>
            </p:cNvSpPr>
            <p:nvPr/>
          </p:nvSpPr>
          <p:spPr bwMode="auto">
            <a:xfrm>
              <a:off x="1350862" y="436723"/>
              <a:ext cx="146069" cy="128020"/>
            </a:xfrm>
            <a:custGeom>
              <a:avLst/>
              <a:gdLst>
                <a:gd name="T0" fmla="*/ 0 w 216"/>
                <a:gd name="T1" fmla="*/ 189 h 189"/>
                <a:gd name="T2" fmla="*/ 42 w 216"/>
                <a:gd name="T3" fmla="*/ 189 h 189"/>
                <a:gd name="T4" fmla="*/ 66 w 216"/>
                <a:gd name="T5" fmla="*/ 138 h 189"/>
                <a:gd name="T6" fmla="*/ 148 w 216"/>
                <a:gd name="T7" fmla="*/ 138 h 189"/>
                <a:gd name="T8" fmla="*/ 174 w 216"/>
                <a:gd name="T9" fmla="*/ 189 h 189"/>
                <a:gd name="T10" fmla="*/ 216 w 216"/>
                <a:gd name="T11" fmla="*/ 189 h 189"/>
                <a:gd name="T12" fmla="*/ 124 w 216"/>
                <a:gd name="T13" fmla="*/ 9 h 189"/>
                <a:gd name="T14" fmla="*/ 106 w 216"/>
                <a:gd name="T15" fmla="*/ 0 h 189"/>
                <a:gd name="T16" fmla="*/ 106 w 216"/>
                <a:gd name="T17" fmla="*/ 0 h 189"/>
                <a:gd name="T18" fmla="*/ 89 w 216"/>
                <a:gd name="T19" fmla="*/ 9 h 189"/>
                <a:gd name="T20" fmla="*/ 0 w 216"/>
                <a:gd name="T21" fmla="*/ 189 h 189"/>
                <a:gd name="T22" fmla="*/ 106 w 216"/>
                <a:gd name="T23" fmla="*/ 55 h 189"/>
                <a:gd name="T24" fmla="*/ 133 w 216"/>
                <a:gd name="T25" fmla="*/ 108 h 189"/>
                <a:gd name="T26" fmla="*/ 81 w 216"/>
                <a:gd name="T27" fmla="*/ 108 h 189"/>
                <a:gd name="T28" fmla="*/ 106 w 216"/>
                <a:gd name="T29" fmla="*/ 55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6" h="189">
                  <a:moveTo>
                    <a:pt x="0" y="189"/>
                  </a:moveTo>
                  <a:cubicBezTo>
                    <a:pt x="42" y="189"/>
                    <a:pt x="42" y="189"/>
                    <a:pt x="42" y="189"/>
                  </a:cubicBezTo>
                  <a:cubicBezTo>
                    <a:pt x="66" y="138"/>
                    <a:pt x="66" y="138"/>
                    <a:pt x="66" y="138"/>
                  </a:cubicBezTo>
                  <a:cubicBezTo>
                    <a:pt x="148" y="138"/>
                    <a:pt x="148" y="138"/>
                    <a:pt x="148" y="138"/>
                  </a:cubicBezTo>
                  <a:cubicBezTo>
                    <a:pt x="174" y="189"/>
                    <a:pt x="174" y="189"/>
                    <a:pt x="174" y="189"/>
                  </a:cubicBezTo>
                  <a:cubicBezTo>
                    <a:pt x="216" y="189"/>
                    <a:pt x="216" y="189"/>
                    <a:pt x="216" y="189"/>
                  </a:cubicBezTo>
                  <a:cubicBezTo>
                    <a:pt x="124" y="9"/>
                    <a:pt x="124" y="9"/>
                    <a:pt x="124" y="9"/>
                  </a:cubicBezTo>
                  <a:cubicBezTo>
                    <a:pt x="120" y="3"/>
                    <a:pt x="114" y="0"/>
                    <a:pt x="106" y="0"/>
                  </a:cubicBezTo>
                  <a:cubicBezTo>
                    <a:pt x="106" y="0"/>
                    <a:pt x="106" y="0"/>
                    <a:pt x="106" y="0"/>
                  </a:cubicBezTo>
                  <a:cubicBezTo>
                    <a:pt x="99" y="0"/>
                    <a:pt x="93" y="3"/>
                    <a:pt x="89" y="9"/>
                  </a:cubicBezTo>
                  <a:lnTo>
                    <a:pt x="0" y="189"/>
                  </a:lnTo>
                  <a:close/>
                  <a:moveTo>
                    <a:pt x="106" y="55"/>
                  </a:moveTo>
                  <a:cubicBezTo>
                    <a:pt x="133" y="108"/>
                    <a:pt x="133" y="108"/>
                    <a:pt x="133" y="108"/>
                  </a:cubicBezTo>
                  <a:cubicBezTo>
                    <a:pt x="81" y="108"/>
                    <a:pt x="81" y="108"/>
                    <a:pt x="81" y="108"/>
                  </a:cubicBezTo>
                  <a:lnTo>
                    <a:pt x="106" y="5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noProof="0"/>
            </a:p>
          </p:txBody>
        </p:sp>
        <p:sp>
          <p:nvSpPr>
            <p:cNvPr id="25" name="Freeform 8"/>
            <p:cNvSpPr>
              <a:spLocks/>
            </p:cNvSpPr>
            <p:nvPr/>
          </p:nvSpPr>
          <p:spPr bwMode="auto">
            <a:xfrm>
              <a:off x="789211" y="437296"/>
              <a:ext cx="128598" cy="127448"/>
            </a:xfrm>
            <a:custGeom>
              <a:avLst/>
              <a:gdLst>
                <a:gd name="T0" fmla="*/ 190 w 190"/>
                <a:gd name="T1" fmla="*/ 188 h 188"/>
                <a:gd name="T2" fmla="*/ 163 w 190"/>
                <a:gd name="T3" fmla="*/ 188 h 188"/>
                <a:gd name="T4" fmla="*/ 38 w 190"/>
                <a:gd name="T5" fmla="*/ 62 h 188"/>
                <a:gd name="T6" fmla="*/ 38 w 190"/>
                <a:gd name="T7" fmla="*/ 188 h 188"/>
                <a:gd name="T8" fmla="*/ 0 w 190"/>
                <a:gd name="T9" fmla="*/ 188 h 188"/>
                <a:gd name="T10" fmla="*/ 0 w 190"/>
                <a:gd name="T11" fmla="*/ 20 h 188"/>
                <a:gd name="T12" fmla="*/ 21 w 190"/>
                <a:gd name="T13" fmla="*/ 0 h 188"/>
                <a:gd name="T14" fmla="*/ 21 w 190"/>
                <a:gd name="T15" fmla="*/ 0 h 188"/>
                <a:gd name="T16" fmla="*/ 36 w 190"/>
                <a:gd name="T17" fmla="*/ 6 h 188"/>
                <a:gd name="T18" fmla="*/ 152 w 190"/>
                <a:gd name="T19" fmla="*/ 123 h 188"/>
                <a:gd name="T20" fmla="*/ 152 w 190"/>
                <a:gd name="T21" fmla="*/ 12 h 188"/>
                <a:gd name="T22" fmla="*/ 165 w 190"/>
                <a:gd name="T23" fmla="*/ 0 h 188"/>
                <a:gd name="T24" fmla="*/ 178 w 190"/>
                <a:gd name="T25" fmla="*/ 0 h 188"/>
                <a:gd name="T26" fmla="*/ 190 w 190"/>
                <a:gd name="T27" fmla="*/ 12 h 188"/>
                <a:gd name="T28" fmla="*/ 190 w 190"/>
                <a:gd name="T29"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0" h="188">
                  <a:moveTo>
                    <a:pt x="190" y="188"/>
                  </a:moveTo>
                  <a:cubicBezTo>
                    <a:pt x="163" y="188"/>
                    <a:pt x="163" y="188"/>
                    <a:pt x="163" y="188"/>
                  </a:cubicBezTo>
                  <a:cubicBezTo>
                    <a:pt x="38" y="62"/>
                    <a:pt x="38" y="62"/>
                    <a:pt x="38" y="62"/>
                  </a:cubicBezTo>
                  <a:cubicBezTo>
                    <a:pt x="38" y="188"/>
                    <a:pt x="38" y="188"/>
                    <a:pt x="38" y="188"/>
                  </a:cubicBezTo>
                  <a:cubicBezTo>
                    <a:pt x="0" y="188"/>
                    <a:pt x="0" y="188"/>
                    <a:pt x="0" y="188"/>
                  </a:cubicBezTo>
                  <a:cubicBezTo>
                    <a:pt x="0" y="20"/>
                    <a:pt x="0" y="20"/>
                    <a:pt x="0" y="20"/>
                  </a:cubicBezTo>
                  <a:cubicBezTo>
                    <a:pt x="0" y="9"/>
                    <a:pt x="9" y="0"/>
                    <a:pt x="21" y="0"/>
                  </a:cubicBezTo>
                  <a:cubicBezTo>
                    <a:pt x="21" y="0"/>
                    <a:pt x="21" y="0"/>
                    <a:pt x="21" y="0"/>
                  </a:cubicBezTo>
                  <a:cubicBezTo>
                    <a:pt x="27" y="0"/>
                    <a:pt x="32" y="2"/>
                    <a:pt x="36" y="6"/>
                  </a:cubicBezTo>
                  <a:cubicBezTo>
                    <a:pt x="152" y="123"/>
                    <a:pt x="152" y="123"/>
                    <a:pt x="152" y="123"/>
                  </a:cubicBezTo>
                  <a:cubicBezTo>
                    <a:pt x="152" y="12"/>
                    <a:pt x="152" y="12"/>
                    <a:pt x="152" y="12"/>
                  </a:cubicBezTo>
                  <a:cubicBezTo>
                    <a:pt x="152" y="5"/>
                    <a:pt x="158" y="0"/>
                    <a:pt x="165" y="0"/>
                  </a:cubicBezTo>
                  <a:cubicBezTo>
                    <a:pt x="178" y="0"/>
                    <a:pt x="178" y="0"/>
                    <a:pt x="178" y="0"/>
                  </a:cubicBezTo>
                  <a:cubicBezTo>
                    <a:pt x="185" y="0"/>
                    <a:pt x="190" y="5"/>
                    <a:pt x="190" y="12"/>
                  </a:cubicBezTo>
                  <a:lnTo>
                    <a:pt x="190" y="1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noProof="0"/>
            </a:p>
          </p:txBody>
        </p:sp>
        <p:sp>
          <p:nvSpPr>
            <p:cNvPr id="26" name="Freeform 9"/>
            <p:cNvSpPr>
              <a:spLocks noEditPoints="1"/>
            </p:cNvSpPr>
            <p:nvPr/>
          </p:nvSpPr>
          <p:spPr bwMode="auto">
            <a:xfrm>
              <a:off x="943586" y="437296"/>
              <a:ext cx="127739" cy="127448"/>
            </a:xfrm>
            <a:custGeom>
              <a:avLst/>
              <a:gdLst>
                <a:gd name="T0" fmla="*/ 117 w 189"/>
                <a:gd name="T1" fmla="*/ 4 h 188"/>
                <a:gd name="T2" fmla="*/ 72 w 189"/>
                <a:gd name="T3" fmla="*/ 0 h 188"/>
                <a:gd name="T4" fmla="*/ 19 w 189"/>
                <a:gd name="T5" fmla="*/ 0 h 188"/>
                <a:gd name="T6" fmla="*/ 0 w 189"/>
                <a:gd name="T7" fmla="*/ 18 h 188"/>
                <a:gd name="T8" fmla="*/ 0 w 189"/>
                <a:gd name="T9" fmla="*/ 188 h 188"/>
                <a:gd name="T10" fmla="*/ 62 w 189"/>
                <a:gd name="T11" fmla="*/ 188 h 188"/>
                <a:gd name="T12" fmla="*/ 115 w 189"/>
                <a:gd name="T13" fmla="*/ 182 h 188"/>
                <a:gd name="T14" fmla="*/ 189 w 189"/>
                <a:gd name="T15" fmla="*/ 91 h 188"/>
                <a:gd name="T16" fmla="*/ 117 w 189"/>
                <a:gd name="T17" fmla="*/ 4 h 188"/>
                <a:gd name="T18" fmla="*/ 105 w 189"/>
                <a:gd name="T19" fmla="*/ 148 h 188"/>
                <a:gd name="T20" fmla="*/ 62 w 189"/>
                <a:gd name="T21" fmla="*/ 153 h 188"/>
                <a:gd name="T22" fmla="*/ 62 w 189"/>
                <a:gd name="T23" fmla="*/ 153 h 188"/>
                <a:gd name="T24" fmla="*/ 38 w 189"/>
                <a:gd name="T25" fmla="*/ 153 h 188"/>
                <a:gd name="T26" fmla="*/ 38 w 189"/>
                <a:gd name="T27" fmla="*/ 153 h 188"/>
                <a:gd name="T28" fmla="*/ 38 w 189"/>
                <a:gd name="T29" fmla="*/ 34 h 188"/>
                <a:gd name="T30" fmla="*/ 38 w 189"/>
                <a:gd name="T31" fmla="*/ 34 h 188"/>
                <a:gd name="T32" fmla="*/ 68 w 189"/>
                <a:gd name="T33" fmla="*/ 34 h 188"/>
                <a:gd name="T34" fmla="*/ 68 w 189"/>
                <a:gd name="T35" fmla="*/ 34 h 188"/>
                <a:gd name="T36" fmla="*/ 107 w 189"/>
                <a:gd name="T37" fmla="*/ 38 h 188"/>
                <a:gd name="T38" fmla="*/ 150 w 189"/>
                <a:gd name="T39" fmla="*/ 91 h 188"/>
                <a:gd name="T40" fmla="*/ 105 w 189"/>
                <a:gd name="T41" fmla="*/ 14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9" h="188">
                  <a:moveTo>
                    <a:pt x="117" y="4"/>
                  </a:moveTo>
                  <a:cubicBezTo>
                    <a:pt x="104" y="1"/>
                    <a:pt x="89" y="0"/>
                    <a:pt x="72" y="0"/>
                  </a:cubicBezTo>
                  <a:cubicBezTo>
                    <a:pt x="19" y="0"/>
                    <a:pt x="19" y="0"/>
                    <a:pt x="19" y="0"/>
                  </a:cubicBezTo>
                  <a:cubicBezTo>
                    <a:pt x="9" y="0"/>
                    <a:pt x="0" y="8"/>
                    <a:pt x="0" y="18"/>
                  </a:cubicBezTo>
                  <a:cubicBezTo>
                    <a:pt x="0" y="188"/>
                    <a:pt x="0" y="188"/>
                    <a:pt x="0" y="188"/>
                  </a:cubicBezTo>
                  <a:cubicBezTo>
                    <a:pt x="62" y="188"/>
                    <a:pt x="62" y="188"/>
                    <a:pt x="62" y="188"/>
                  </a:cubicBezTo>
                  <a:cubicBezTo>
                    <a:pt x="84" y="188"/>
                    <a:pt x="100" y="186"/>
                    <a:pt x="115" y="182"/>
                  </a:cubicBezTo>
                  <a:cubicBezTo>
                    <a:pt x="163" y="168"/>
                    <a:pt x="189" y="136"/>
                    <a:pt x="189" y="91"/>
                  </a:cubicBezTo>
                  <a:cubicBezTo>
                    <a:pt x="189" y="46"/>
                    <a:pt x="164" y="15"/>
                    <a:pt x="117" y="4"/>
                  </a:cubicBezTo>
                  <a:close/>
                  <a:moveTo>
                    <a:pt x="105" y="148"/>
                  </a:moveTo>
                  <a:cubicBezTo>
                    <a:pt x="94" y="151"/>
                    <a:pt x="79" y="153"/>
                    <a:pt x="62" y="153"/>
                  </a:cubicBezTo>
                  <a:cubicBezTo>
                    <a:pt x="62" y="153"/>
                    <a:pt x="62" y="153"/>
                    <a:pt x="62" y="153"/>
                  </a:cubicBezTo>
                  <a:cubicBezTo>
                    <a:pt x="38" y="153"/>
                    <a:pt x="38" y="153"/>
                    <a:pt x="38" y="153"/>
                  </a:cubicBezTo>
                  <a:cubicBezTo>
                    <a:pt x="38" y="153"/>
                    <a:pt x="38" y="153"/>
                    <a:pt x="38" y="153"/>
                  </a:cubicBezTo>
                  <a:cubicBezTo>
                    <a:pt x="38" y="34"/>
                    <a:pt x="38" y="34"/>
                    <a:pt x="38" y="34"/>
                  </a:cubicBezTo>
                  <a:cubicBezTo>
                    <a:pt x="38" y="34"/>
                    <a:pt x="38" y="34"/>
                    <a:pt x="38" y="34"/>
                  </a:cubicBezTo>
                  <a:cubicBezTo>
                    <a:pt x="68" y="34"/>
                    <a:pt x="68" y="34"/>
                    <a:pt x="68" y="34"/>
                  </a:cubicBezTo>
                  <a:cubicBezTo>
                    <a:pt x="68" y="34"/>
                    <a:pt x="68" y="34"/>
                    <a:pt x="68" y="34"/>
                  </a:cubicBezTo>
                  <a:cubicBezTo>
                    <a:pt x="86" y="34"/>
                    <a:pt x="97" y="35"/>
                    <a:pt x="107" y="38"/>
                  </a:cubicBezTo>
                  <a:cubicBezTo>
                    <a:pt x="136" y="46"/>
                    <a:pt x="150" y="63"/>
                    <a:pt x="150" y="91"/>
                  </a:cubicBezTo>
                  <a:cubicBezTo>
                    <a:pt x="150" y="120"/>
                    <a:pt x="135" y="139"/>
                    <a:pt x="105" y="14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noProof="0"/>
            </a:p>
          </p:txBody>
        </p:sp>
        <p:sp>
          <p:nvSpPr>
            <p:cNvPr id="28" name="Freeform 10"/>
            <p:cNvSpPr>
              <a:spLocks noEditPoints="1"/>
            </p:cNvSpPr>
            <p:nvPr/>
          </p:nvSpPr>
          <p:spPr bwMode="auto">
            <a:xfrm>
              <a:off x="1513256" y="437296"/>
              <a:ext cx="110841" cy="127448"/>
            </a:xfrm>
            <a:custGeom>
              <a:avLst/>
              <a:gdLst>
                <a:gd name="T0" fmla="*/ 113 w 164"/>
                <a:gd name="T1" fmla="*/ 113 h 188"/>
                <a:gd name="T2" fmla="*/ 158 w 164"/>
                <a:gd name="T3" fmla="*/ 58 h 188"/>
                <a:gd name="T4" fmla="*/ 82 w 164"/>
                <a:gd name="T5" fmla="*/ 0 h 188"/>
                <a:gd name="T6" fmla="*/ 19 w 164"/>
                <a:gd name="T7" fmla="*/ 0 h 188"/>
                <a:gd name="T8" fmla="*/ 0 w 164"/>
                <a:gd name="T9" fmla="*/ 18 h 188"/>
                <a:gd name="T10" fmla="*/ 0 w 164"/>
                <a:gd name="T11" fmla="*/ 188 h 188"/>
                <a:gd name="T12" fmla="*/ 38 w 164"/>
                <a:gd name="T13" fmla="*/ 188 h 188"/>
                <a:gd name="T14" fmla="*/ 38 w 164"/>
                <a:gd name="T15" fmla="*/ 118 h 188"/>
                <a:gd name="T16" fmla="*/ 72 w 164"/>
                <a:gd name="T17" fmla="*/ 118 h 188"/>
                <a:gd name="T18" fmla="*/ 119 w 164"/>
                <a:gd name="T19" fmla="*/ 188 h 188"/>
                <a:gd name="T20" fmla="*/ 164 w 164"/>
                <a:gd name="T21" fmla="*/ 188 h 188"/>
                <a:gd name="T22" fmla="*/ 113 w 164"/>
                <a:gd name="T23" fmla="*/ 113 h 188"/>
                <a:gd name="T24" fmla="*/ 38 w 164"/>
                <a:gd name="T25" fmla="*/ 83 h 188"/>
                <a:gd name="T26" fmla="*/ 38 w 164"/>
                <a:gd name="T27" fmla="*/ 34 h 188"/>
                <a:gd name="T28" fmla="*/ 85 w 164"/>
                <a:gd name="T29" fmla="*/ 34 h 188"/>
                <a:gd name="T30" fmla="*/ 118 w 164"/>
                <a:gd name="T31" fmla="*/ 59 h 188"/>
                <a:gd name="T32" fmla="*/ 77 w 164"/>
                <a:gd name="T33" fmla="*/ 83 h 188"/>
                <a:gd name="T34" fmla="*/ 38 w 164"/>
                <a:gd name="T35" fmla="*/ 83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4" h="188">
                  <a:moveTo>
                    <a:pt x="113" y="113"/>
                  </a:moveTo>
                  <a:cubicBezTo>
                    <a:pt x="142" y="105"/>
                    <a:pt x="158" y="86"/>
                    <a:pt x="158" y="58"/>
                  </a:cubicBezTo>
                  <a:cubicBezTo>
                    <a:pt x="158" y="22"/>
                    <a:pt x="129" y="0"/>
                    <a:pt x="82" y="0"/>
                  </a:cubicBezTo>
                  <a:cubicBezTo>
                    <a:pt x="19" y="0"/>
                    <a:pt x="19" y="0"/>
                    <a:pt x="19" y="0"/>
                  </a:cubicBezTo>
                  <a:cubicBezTo>
                    <a:pt x="8" y="0"/>
                    <a:pt x="0" y="8"/>
                    <a:pt x="0" y="18"/>
                  </a:cubicBezTo>
                  <a:cubicBezTo>
                    <a:pt x="0" y="188"/>
                    <a:pt x="0" y="188"/>
                    <a:pt x="0" y="188"/>
                  </a:cubicBezTo>
                  <a:cubicBezTo>
                    <a:pt x="38" y="188"/>
                    <a:pt x="38" y="188"/>
                    <a:pt x="38" y="188"/>
                  </a:cubicBezTo>
                  <a:cubicBezTo>
                    <a:pt x="38" y="118"/>
                    <a:pt x="38" y="118"/>
                    <a:pt x="38" y="118"/>
                  </a:cubicBezTo>
                  <a:cubicBezTo>
                    <a:pt x="72" y="118"/>
                    <a:pt x="72" y="118"/>
                    <a:pt x="72" y="118"/>
                  </a:cubicBezTo>
                  <a:cubicBezTo>
                    <a:pt x="119" y="188"/>
                    <a:pt x="119" y="188"/>
                    <a:pt x="119" y="188"/>
                  </a:cubicBezTo>
                  <a:cubicBezTo>
                    <a:pt x="164" y="188"/>
                    <a:pt x="164" y="188"/>
                    <a:pt x="164" y="188"/>
                  </a:cubicBezTo>
                  <a:lnTo>
                    <a:pt x="113" y="113"/>
                  </a:lnTo>
                  <a:close/>
                  <a:moveTo>
                    <a:pt x="38" y="83"/>
                  </a:moveTo>
                  <a:cubicBezTo>
                    <a:pt x="38" y="34"/>
                    <a:pt x="38" y="34"/>
                    <a:pt x="38" y="34"/>
                  </a:cubicBezTo>
                  <a:cubicBezTo>
                    <a:pt x="85" y="34"/>
                    <a:pt x="85" y="34"/>
                    <a:pt x="85" y="34"/>
                  </a:cubicBezTo>
                  <a:cubicBezTo>
                    <a:pt x="98" y="34"/>
                    <a:pt x="118" y="38"/>
                    <a:pt x="118" y="59"/>
                  </a:cubicBezTo>
                  <a:cubicBezTo>
                    <a:pt x="118" y="69"/>
                    <a:pt x="114" y="83"/>
                    <a:pt x="77" y="83"/>
                  </a:cubicBezTo>
                  <a:lnTo>
                    <a:pt x="38" y="8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noProof="0"/>
            </a:p>
          </p:txBody>
        </p:sp>
        <p:sp>
          <p:nvSpPr>
            <p:cNvPr id="39" name="Freeform 11"/>
            <p:cNvSpPr>
              <a:spLocks/>
            </p:cNvSpPr>
            <p:nvPr/>
          </p:nvSpPr>
          <p:spPr bwMode="auto">
            <a:xfrm>
              <a:off x="738516" y="437296"/>
              <a:ext cx="25777" cy="127448"/>
            </a:xfrm>
            <a:custGeom>
              <a:avLst/>
              <a:gdLst>
                <a:gd name="T0" fmla="*/ 0 w 38"/>
                <a:gd name="T1" fmla="*/ 188 h 188"/>
                <a:gd name="T2" fmla="*/ 38 w 38"/>
                <a:gd name="T3" fmla="*/ 188 h 188"/>
                <a:gd name="T4" fmla="*/ 38 w 38"/>
                <a:gd name="T5" fmla="*/ 12 h 188"/>
                <a:gd name="T6" fmla="*/ 25 w 38"/>
                <a:gd name="T7" fmla="*/ 0 h 188"/>
                <a:gd name="T8" fmla="*/ 13 w 38"/>
                <a:gd name="T9" fmla="*/ 0 h 188"/>
                <a:gd name="T10" fmla="*/ 0 w 38"/>
                <a:gd name="T11" fmla="*/ 12 h 188"/>
                <a:gd name="T12" fmla="*/ 0 w 38"/>
                <a:gd name="T13" fmla="*/ 188 h 188"/>
              </a:gdLst>
              <a:ahLst/>
              <a:cxnLst>
                <a:cxn ang="0">
                  <a:pos x="T0" y="T1"/>
                </a:cxn>
                <a:cxn ang="0">
                  <a:pos x="T2" y="T3"/>
                </a:cxn>
                <a:cxn ang="0">
                  <a:pos x="T4" y="T5"/>
                </a:cxn>
                <a:cxn ang="0">
                  <a:pos x="T6" y="T7"/>
                </a:cxn>
                <a:cxn ang="0">
                  <a:pos x="T8" y="T9"/>
                </a:cxn>
                <a:cxn ang="0">
                  <a:pos x="T10" y="T11"/>
                </a:cxn>
                <a:cxn ang="0">
                  <a:pos x="T12" y="T13"/>
                </a:cxn>
              </a:cxnLst>
              <a:rect l="0" t="0" r="r" b="b"/>
              <a:pathLst>
                <a:path w="38" h="188">
                  <a:moveTo>
                    <a:pt x="0" y="188"/>
                  </a:moveTo>
                  <a:cubicBezTo>
                    <a:pt x="38" y="188"/>
                    <a:pt x="38" y="188"/>
                    <a:pt x="38" y="188"/>
                  </a:cubicBezTo>
                  <a:cubicBezTo>
                    <a:pt x="38" y="12"/>
                    <a:pt x="38" y="12"/>
                    <a:pt x="38" y="12"/>
                  </a:cubicBezTo>
                  <a:cubicBezTo>
                    <a:pt x="38" y="5"/>
                    <a:pt x="32" y="0"/>
                    <a:pt x="25" y="0"/>
                  </a:cubicBezTo>
                  <a:cubicBezTo>
                    <a:pt x="13" y="0"/>
                    <a:pt x="13" y="0"/>
                    <a:pt x="13" y="0"/>
                  </a:cubicBezTo>
                  <a:cubicBezTo>
                    <a:pt x="6" y="0"/>
                    <a:pt x="0" y="5"/>
                    <a:pt x="0" y="12"/>
                  </a:cubicBezTo>
                  <a:lnTo>
                    <a:pt x="0" y="1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noProof="0"/>
            </a:p>
          </p:txBody>
        </p:sp>
        <p:sp>
          <p:nvSpPr>
            <p:cNvPr id="40" name="Freeform 12"/>
            <p:cNvSpPr>
              <a:spLocks/>
            </p:cNvSpPr>
            <p:nvPr/>
          </p:nvSpPr>
          <p:spPr bwMode="auto">
            <a:xfrm>
              <a:off x="1217394" y="437296"/>
              <a:ext cx="118001" cy="127448"/>
            </a:xfrm>
            <a:custGeom>
              <a:avLst/>
              <a:gdLst>
                <a:gd name="T0" fmla="*/ 174 w 174"/>
                <a:gd name="T1" fmla="*/ 188 h 188"/>
                <a:gd name="T2" fmla="*/ 137 w 174"/>
                <a:gd name="T3" fmla="*/ 188 h 188"/>
                <a:gd name="T4" fmla="*/ 137 w 174"/>
                <a:gd name="T5" fmla="*/ 110 h 188"/>
                <a:gd name="T6" fmla="*/ 38 w 174"/>
                <a:gd name="T7" fmla="*/ 110 h 188"/>
                <a:gd name="T8" fmla="*/ 38 w 174"/>
                <a:gd name="T9" fmla="*/ 188 h 188"/>
                <a:gd name="T10" fmla="*/ 0 w 174"/>
                <a:gd name="T11" fmla="*/ 188 h 188"/>
                <a:gd name="T12" fmla="*/ 0 w 174"/>
                <a:gd name="T13" fmla="*/ 12 h 188"/>
                <a:gd name="T14" fmla="*/ 13 w 174"/>
                <a:gd name="T15" fmla="*/ 0 h 188"/>
                <a:gd name="T16" fmla="*/ 25 w 174"/>
                <a:gd name="T17" fmla="*/ 0 h 188"/>
                <a:gd name="T18" fmla="*/ 38 w 174"/>
                <a:gd name="T19" fmla="*/ 12 h 188"/>
                <a:gd name="T20" fmla="*/ 38 w 174"/>
                <a:gd name="T21" fmla="*/ 75 h 188"/>
                <a:gd name="T22" fmla="*/ 137 w 174"/>
                <a:gd name="T23" fmla="*/ 75 h 188"/>
                <a:gd name="T24" fmla="*/ 137 w 174"/>
                <a:gd name="T25" fmla="*/ 12 h 188"/>
                <a:gd name="T26" fmla="*/ 149 w 174"/>
                <a:gd name="T27" fmla="*/ 0 h 188"/>
                <a:gd name="T28" fmla="*/ 162 w 174"/>
                <a:gd name="T29" fmla="*/ 0 h 188"/>
                <a:gd name="T30" fmla="*/ 174 w 174"/>
                <a:gd name="T31" fmla="*/ 12 h 188"/>
                <a:gd name="T32" fmla="*/ 174 w 174"/>
                <a:gd name="T33"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4" h="188">
                  <a:moveTo>
                    <a:pt x="174" y="188"/>
                  </a:moveTo>
                  <a:cubicBezTo>
                    <a:pt x="137" y="188"/>
                    <a:pt x="137" y="188"/>
                    <a:pt x="137" y="188"/>
                  </a:cubicBezTo>
                  <a:cubicBezTo>
                    <a:pt x="137" y="110"/>
                    <a:pt x="137" y="110"/>
                    <a:pt x="137" y="110"/>
                  </a:cubicBezTo>
                  <a:cubicBezTo>
                    <a:pt x="38" y="110"/>
                    <a:pt x="38" y="110"/>
                    <a:pt x="38" y="110"/>
                  </a:cubicBezTo>
                  <a:cubicBezTo>
                    <a:pt x="38" y="188"/>
                    <a:pt x="38" y="188"/>
                    <a:pt x="38" y="188"/>
                  </a:cubicBezTo>
                  <a:cubicBezTo>
                    <a:pt x="0" y="188"/>
                    <a:pt x="0" y="188"/>
                    <a:pt x="0" y="188"/>
                  </a:cubicBezTo>
                  <a:cubicBezTo>
                    <a:pt x="0" y="12"/>
                    <a:pt x="0" y="12"/>
                    <a:pt x="0" y="12"/>
                  </a:cubicBezTo>
                  <a:cubicBezTo>
                    <a:pt x="0" y="5"/>
                    <a:pt x="6" y="0"/>
                    <a:pt x="13" y="0"/>
                  </a:cubicBezTo>
                  <a:cubicBezTo>
                    <a:pt x="25" y="0"/>
                    <a:pt x="25" y="0"/>
                    <a:pt x="25" y="0"/>
                  </a:cubicBezTo>
                  <a:cubicBezTo>
                    <a:pt x="32" y="0"/>
                    <a:pt x="38" y="5"/>
                    <a:pt x="38" y="12"/>
                  </a:cubicBezTo>
                  <a:cubicBezTo>
                    <a:pt x="38" y="75"/>
                    <a:pt x="38" y="75"/>
                    <a:pt x="38" y="75"/>
                  </a:cubicBezTo>
                  <a:cubicBezTo>
                    <a:pt x="137" y="75"/>
                    <a:pt x="137" y="75"/>
                    <a:pt x="137" y="75"/>
                  </a:cubicBezTo>
                  <a:cubicBezTo>
                    <a:pt x="137" y="12"/>
                    <a:pt x="137" y="12"/>
                    <a:pt x="137" y="12"/>
                  </a:cubicBezTo>
                  <a:cubicBezTo>
                    <a:pt x="137" y="5"/>
                    <a:pt x="142" y="0"/>
                    <a:pt x="149" y="0"/>
                  </a:cubicBezTo>
                  <a:cubicBezTo>
                    <a:pt x="162" y="0"/>
                    <a:pt x="162" y="0"/>
                    <a:pt x="162" y="0"/>
                  </a:cubicBezTo>
                  <a:cubicBezTo>
                    <a:pt x="169" y="0"/>
                    <a:pt x="174" y="5"/>
                    <a:pt x="174" y="12"/>
                  </a:cubicBezTo>
                  <a:lnTo>
                    <a:pt x="174" y="1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noProof="0"/>
            </a:p>
          </p:txBody>
        </p:sp>
        <p:sp>
          <p:nvSpPr>
            <p:cNvPr id="41" name="Freeform 13"/>
            <p:cNvSpPr>
              <a:spLocks/>
            </p:cNvSpPr>
            <p:nvPr/>
          </p:nvSpPr>
          <p:spPr bwMode="auto">
            <a:xfrm>
              <a:off x="1085646" y="435864"/>
              <a:ext cx="108836" cy="130025"/>
            </a:xfrm>
            <a:custGeom>
              <a:avLst/>
              <a:gdLst>
                <a:gd name="T0" fmla="*/ 90 w 161"/>
                <a:gd name="T1" fmla="*/ 78 h 192"/>
                <a:gd name="T2" fmla="*/ 46 w 161"/>
                <a:gd name="T3" fmla="*/ 56 h 192"/>
                <a:gd name="T4" fmla="*/ 83 w 161"/>
                <a:gd name="T5" fmla="*/ 36 h 192"/>
                <a:gd name="T6" fmla="*/ 139 w 161"/>
                <a:gd name="T7" fmla="*/ 49 h 192"/>
                <a:gd name="T8" fmla="*/ 140 w 161"/>
                <a:gd name="T9" fmla="*/ 49 h 192"/>
                <a:gd name="T10" fmla="*/ 145 w 161"/>
                <a:gd name="T11" fmla="*/ 47 h 192"/>
                <a:gd name="T12" fmla="*/ 156 w 161"/>
                <a:gd name="T13" fmla="*/ 25 h 192"/>
                <a:gd name="T14" fmla="*/ 156 w 161"/>
                <a:gd name="T15" fmla="*/ 23 h 192"/>
                <a:gd name="T16" fmla="*/ 153 w 161"/>
                <a:gd name="T17" fmla="*/ 18 h 192"/>
                <a:gd name="T18" fmla="*/ 152 w 161"/>
                <a:gd name="T19" fmla="*/ 17 h 192"/>
                <a:gd name="T20" fmla="*/ 81 w 161"/>
                <a:gd name="T21" fmla="*/ 0 h 192"/>
                <a:gd name="T22" fmla="*/ 7 w 161"/>
                <a:gd name="T23" fmla="*/ 57 h 192"/>
                <a:gd name="T24" fmla="*/ 25 w 161"/>
                <a:gd name="T25" fmla="*/ 96 h 192"/>
                <a:gd name="T26" fmla="*/ 80 w 161"/>
                <a:gd name="T27" fmla="*/ 113 h 192"/>
                <a:gd name="T28" fmla="*/ 122 w 161"/>
                <a:gd name="T29" fmla="*/ 133 h 192"/>
                <a:gd name="T30" fmla="*/ 78 w 161"/>
                <a:gd name="T31" fmla="*/ 157 h 192"/>
                <a:gd name="T32" fmla="*/ 22 w 161"/>
                <a:gd name="T33" fmla="*/ 142 h 192"/>
                <a:gd name="T34" fmla="*/ 18 w 161"/>
                <a:gd name="T35" fmla="*/ 139 h 192"/>
                <a:gd name="T36" fmla="*/ 15 w 161"/>
                <a:gd name="T37" fmla="*/ 143 h 192"/>
                <a:gd name="T38" fmla="*/ 2 w 161"/>
                <a:gd name="T39" fmla="*/ 166 h 192"/>
                <a:gd name="T40" fmla="*/ 0 w 161"/>
                <a:gd name="T41" fmla="*/ 170 h 192"/>
                <a:gd name="T42" fmla="*/ 4 w 161"/>
                <a:gd name="T43" fmla="*/ 172 h 192"/>
                <a:gd name="T44" fmla="*/ 77 w 161"/>
                <a:gd name="T45" fmla="*/ 192 h 192"/>
                <a:gd name="T46" fmla="*/ 161 w 161"/>
                <a:gd name="T47" fmla="*/ 132 h 192"/>
                <a:gd name="T48" fmla="*/ 90 w 161"/>
                <a:gd name="T49" fmla="*/ 7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1" h="192">
                  <a:moveTo>
                    <a:pt x="90" y="78"/>
                  </a:moveTo>
                  <a:cubicBezTo>
                    <a:pt x="63" y="74"/>
                    <a:pt x="46" y="71"/>
                    <a:pt x="46" y="56"/>
                  </a:cubicBezTo>
                  <a:cubicBezTo>
                    <a:pt x="46" y="43"/>
                    <a:pt x="60" y="36"/>
                    <a:pt x="83" y="36"/>
                  </a:cubicBezTo>
                  <a:cubicBezTo>
                    <a:pt x="109" y="36"/>
                    <a:pt x="130" y="45"/>
                    <a:pt x="139" y="49"/>
                  </a:cubicBezTo>
                  <a:cubicBezTo>
                    <a:pt x="139" y="49"/>
                    <a:pt x="139" y="49"/>
                    <a:pt x="140" y="49"/>
                  </a:cubicBezTo>
                  <a:cubicBezTo>
                    <a:pt x="142" y="49"/>
                    <a:pt x="144" y="49"/>
                    <a:pt x="145" y="47"/>
                  </a:cubicBezTo>
                  <a:cubicBezTo>
                    <a:pt x="156" y="25"/>
                    <a:pt x="156" y="25"/>
                    <a:pt x="156" y="25"/>
                  </a:cubicBezTo>
                  <a:cubicBezTo>
                    <a:pt x="156" y="24"/>
                    <a:pt x="156" y="23"/>
                    <a:pt x="156" y="23"/>
                  </a:cubicBezTo>
                  <a:cubicBezTo>
                    <a:pt x="156" y="21"/>
                    <a:pt x="155" y="19"/>
                    <a:pt x="153" y="18"/>
                  </a:cubicBezTo>
                  <a:cubicBezTo>
                    <a:pt x="152" y="17"/>
                    <a:pt x="152" y="17"/>
                    <a:pt x="152" y="17"/>
                  </a:cubicBezTo>
                  <a:cubicBezTo>
                    <a:pt x="133" y="7"/>
                    <a:pt x="106" y="0"/>
                    <a:pt x="81" y="0"/>
                  </a:cubicBezTo>
                  <a:cubicBezTo>
                    <a:pt x="35" y="0"/>
                    <a:pt x="7" y="22"/>
                    <a:pt x="7" y="57"/>
                  </a:cubicBezTo>
                  <a:cubicBezTo>
                    <a:pt x="7" y="75"/>
                    <a:pt x="13" y="87"/>
                    <a:pt x="25" y="96"/>
                  </a:cubicBezTo>
                  <a:cubicBezTo>
                    <a:pt x="40" y="107"/>
                    <a:pt x="61" y="110"/>
                    <a:pt x="80" y="113"/>
                  </a:cubicBezTo>
                  <a:cubicBezTo>
                    <a:pt x="106" y="117"/>
                    <a:pt x="122" y="119"/>
                    <a:pt x="122" y="133"/>
                  </a:cubicBezTo>
                  <a:cubicBezTo>
                    <a:pt x="122" y="155"/>
                    <a:pt x="91" y="157"/>
                    <a:pt x="78" y="157"/>
                  </a:cubicBezTo>
                  <a:cubicBezTo>
                    <a:pt x="57" y="157"/>
                    <a:pt x="38" y="152"/>
                    <a:pt x="22" y="142"/>
                  </a:cubicBezTo>
                  <a:cubicBezTo>
                    <a:pt x="18" y="139"/>
                    <a:pt x="18" y="139"/>
                    <a:pt x="18" y="139"/>
                  </a:cubicBezTo>
                  <a:cubicBezTo>
                    <a:pt x="15" y="143"/>
                    <a:pt x="15" y="143"/>
                    <a:pt x="15" y="143"/>
                  </a:cubicBezTo>
                  <a:cubicBezTo>
                    <a:pt x="2" y="166"/>
                    <a:pt x="2" y="166"/>
                    <a:pt x="2" y="166"/>
                  </a:cubicBezTo>
                  <a:cubicBezTo>
                    <a:pt x="0" y="170"/>
                    <a:pt x="0" y="170"/>
                    <a:pt x="0" y="170"/>
                  </a:cubicBezTo>
                  <a:cubicBezTo>
                    <a:pt x="4" y="172"/>
                    <a:pt x="4" y="172"/>
                    <a:pt x="4" y="172"/>
                  </a:cubicBezTo>
                  <a:cubicBezTo>
                    <a:pt x="18" y="181"/>
                    <a:pt x="42" y="192"/>
                    <a:pt x="77" y="192"/>
                  </a:cubicBezTo>
                  <a:cubicBezTo>
                    <a:pt x="128" y="192"/>
                    <a:pt x="161" y="169"/>
                    <a:pt x="161" y="132"/>
                  </a:cubicBezTo>
                  <a:cubicBezTo>
                    <a:pt x="161" y="88"/>
                    <a:pt x="122" y="82"/>
                    <a:pt x="90" y="7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noProof="0"/>
            </a:p>
          </p:txBody>
        </p:sp>
        <p:sp>
          <p:nvSpPr>
            <p:cNvPr id="42" name="Freeform 14"/>
            <p:cNvSpPr>
              <a:spLocks/>
            </p:cNvSpPr>
            <p:nvPr/>
          </p:nvSpPr>
          <p:spPr bwMode="auto">
            <a:xfrm>
              <a:off x="1642427" y="437296"/>
              <a:ext cx="93943" cy="127448"/>
            </a:xfrm>
            <a:custGeom>
              <a:avLst/>
              <a:gdLst>
                <a:gd name="T0" fmla="*/ 128 w 139"/>
                <a:gd name="T1" fmla="*/ 103 h 188"/>
                <a:gd name="T2" fmla="*/ 121 w 139"/>
                <a:gd name="T3" fmla="*/ 110 h 188"/>
                <a:gd name="T4" fmla="*/ 38 w 139"/>
                <a:gd name="T5" fmla="*/ 110 h 188"/>
                <a:gd name="T6" fmla="*/ 38 w 139"/>
                <a:gd name="T7" fmla="*/ 153 h 188"/>
                <a:gd name="T8" fmla="*/ 139 w 139"/>
                <a:gd name="T9" fmla="*/ 153 h 188"/>
                <a:gd name="T10" fmla="*/ 139 w 139"/>
                <a:gd name="T11" fmla="*/ 188 h 188"/>
                <a:gd name="T12" fmla="*/ 0 w 139"/>
                <a:gd name="T13" fmla="*/ 188 h 188"/>
                <a:gd name="T14" fmla="*/ 0 w 139"/>
                <a:gd name="T15" fmla="*/ 18 h 188"/>
                <a:gd name="T16" fmla="*/ 19 w 139"/>
                <a:gd name="T17" fmla="*/ 0 h 188"/>
                <a:gd name="T18" fmla="*/ 130 w 139"/>
                <a:gd name="T19" fmla="*/ 0 h 188"/>
                <a:gd name="T20" fmla="*/ 137 w 139"/>
                <a:gd name="T21" fmla="*/ 6 h 188"/>
                <a:gd name="T22" fmla="*/ 137 w 139"/>
                <a:gd name="T23" fmla="*/ 27 h 188"/>
                <a:gd name="T24" fmla="*/ 130 w 139"/>
                <a:gd name="T25" fmla="*/ 34 h 188"/>
                <a:gd name="T26" fmla="*/ 38 w 139"/>
                <a:gd name="T27" fmla="*/ 34 h 188"/>
                <a:gd name="T28" fmla="*/ 38 w 139"/>
                <a:gd name="T29" fmla="*/ 75 h 188"/>
                <a:gd name="T30" fmla="*/ 121 w 139"/>
                <a:gd name="T31" fmla="*/ 75 h 188"/>
                <a:gd name="T32" fmla="*/ 128 w 139"/>
                <a:gd name="T33" fmla="*/ 82 h 188"/>
                <a:gd name="T34" fmla="*/ 128 w 139"/>
                <a:gd name="T35" fmla="*/ 103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188">
                  <a:moveTo>
                    <a:pt x="128" y="103"/>
                  </a:moveTo>
                  <a:cubicBezTo>
                    <a:pt x="128" y="107"/>
                    <a:pt x="124" y="110"/>
                    <a:pt x="121" y="110"/>
                  </a:cubicBezTo>
                  <a:cubicBezTo>
                    <a:pt x="38" y="110"/>
                    <a:pt x="38" y="110"/>
                    <a:pt x="38" y="110"/>
                  </a:cubicBezTo>
                  <a:cubicBezTo>
                    <a:pt x="38" y="153"/>
                    <a:pt x="38" y="153"/>
                    <a:pt x="38" y="153"/>
                  </a:cubicBezTo>
                  <a:cubicBezTo>
                    <a:pt x="139" y="153"/>
                    <a:pt x="139" y="153"/>
                    <a:pt x="139" y="153"/>
                  </a:cubicBezTo>
                  <a:cubicBezTo>
                    <a:pt x="139" y="188"/>
                    <a:pt x="139" y="188"/>
                    <a:pt x="139" y="188"/>
                  </a:cubicBezTo>
                  <a:cubicBezTo>
                    <a:pt x="0" y="188"/>
                    <a:pt x="0" y="188"/>
                    <a:pt x="0" y="188"/>
                  </a:cubicBezTo>
                  <a:cubicBezTo>
                    <a:pt x="0" y="18"/>
                    <a:pt x="0" y="18"/>
                    <a:pt x="0" y="18"/>
                  </a:cubicBezTo>
                  <a:cubicBezTo>
                    <a:pt x="0" y="8"/>
                    <a:pt x="9" y="0"/>
                    <a:pt x="19" y="0"/>
                  </a:cubicBezTo>
                  <a:cubicBezTo>
                    <a:pt x="130" y="0"/>
                    <a:pt x="130" y="0"/>
                    <a:pt x="130" y="0"/>
                  </a:cubicBezTo>
                  <a:cubicBezTo>
                    <a:pt x="134" y="0"/>
                    <a:pt x="137" y="2"/>
                    <a:pt x="137" y="6"/>
                  </a:cubicBezTo>
                  <a:cubicBezTo>
                    <a:pt x="137" y="27"/>
                    <a:pt x="137" y="27"/>
                    <a:pt x="137" y="27"/>
                  </a:cubicBezTo>
                  <a:cubicBezTo>
                    <a:pt x="137" y="32"/>
                    <a:pt x="134" y="34"/>
                    <a:pt x="130" y="34"/>
                  </a:cubicBezTo>
                  <a:cubicBezTo>
                    <a:pt x="38" y="34"/>
                    <a:pt x="38" y="34"/>
                    <a:pt x="38" y="34"/>
                  </a:cubicBezTo>
                  <a:cubicBezTo>
                    <a:pt x="38" y="75"/>
                    <a:pt x="38" y="75"/>
                    <a:pt x="38" y="75"/>
                  </a:cubicBezTo>
                  <a:cubicBezTo>
                    <a:pt x="121" y="75"/>
                    <a:pt x="121" y="75"/>
                    <a:pt x="121" y="75"/>
                  </a:cubicBezTo>
                  <a:cubicBezTo>
                    <a:pt x="124" y="75"/>
                    <a:pt x="128" y="77"/>
                    <a:pt x="128" y="82"/>
                  </a:cubicBezTo>
                  <a:lnTo>
                    <a:pt x="128" y="10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noProof="0"/>
            </a:p>
          </p:txBody>
        </p:sp>
      </p:grpSp>
      <p:grpSp>
        <p:nvGrpSpPr>
          <p:cNvPr id="18" name="Mindshare Business Planning"/>
          <p:cNvGrpSpPr>
            <a:grpSpLocks noChangeAspect="1"/>
          </p:cNvGrpSpPr>
          <p:nvPr userDrawn="1"/>
        </p:nvGrpSpPr>
        <p:grpSpPr>
          <a:xfrm>
            <a:off x="7864683" y="4956464"/>
            <a:ext cx="853932" cy="57428"/>
            <a:chOff x="3276602" y="4568783"/>
            <a:chExt cx="4060837" cy="273095"/>
          </a:xfrm>
        </p:grpSpPr>
        <p:sp>
          <p:nvSpPr>
            <p:cNvPr id="19" name="AutoShape 22"/>
            <p:cNvSpPr>
              <a:spLocks noChangeAspect="1" noChangeArrowheads="1" noTextEdit="1"/>
            </p:cNvSpPr>
            <p:nvPr/>
          </p:nvSpPr>
          <p:spPr bwMode="auto">
            <a:xfrm>
              <a:off x="3276610" y="4571983"/>
              <a:ext cx="4060829" cy="26987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24"/>
            <p:cNvSpPr>
              <a:spLocks noEditPoints="1"/>
            </p:cNvSpPr>
            <p:nvPr/>
          </p:nvSpPr>
          <p:spPr bwMode="auto">
            <a:xfrm>
              <a:off x="5765810" y="4568811"/>
              <a:ext cx="296863" cy="269873"/>
            </a:xfrm>
            <a:custGeom>
              <a:avLst/>
              <a:gdLst/>
              <a:ahLst/>
              <a:cxnLst>
                <a:cxn ang="0">
                  <a:pos x="0" y="69"/>
                </a:cxn>
                <a:cxn ang="0">
                  <a:pos x="15" y="69"/>
                </a:cxn>
                <a:cxn ang="0">
                  <a:pos x="24" y="50"/>
                </a:cxn>
                <a:cxn ang="0">
                  <a:pos x="54" y="50"/>
                </a:cxn>
                <a:cxn ang="0">
                  <a:pos x="63" y="69"/>
                </a:cxn>
                <a:cxn ang="0">
                  <a:pos x="79" y="69"/>
                </a:cxn>
                <a:cxn ang="0">
                  <a:pos x="45" y="3"/>
                </a:cxn>
                <a:cxn ang="0">
                  <a:pos x="39" y="0"/>
                </a:cxn>
                <a:cxn ang="0">
                  <a:pos x="39" y="0"/>
                </a:cxn>
                <a:cxn ang="0">
                  <a:pos x="32" y="3"/>
                </a:cxn>
                <a:cxn ang="0">
                  <a:pos x="0" y="69"/>
                </a:cxn>
                <a:cxn ang="0">
                  <a:pos x="39" y="20"/>
                </a:cxn>
                <a:cxn ang="0">
                  <a:pos x="48" y="39"/>
                </a:cxn>
                <a:cxn ang="0">
                  <a:pos x="29" y="39"/>
                </a:cxn>
                <a:cxn ang="0">
                  <a:pos x="39" y="20"/>
                </a:cxn>
              </a:cxnLst>
              <a:rect l="0" t="0" r="r" b="b"/>
              <a:pathLst>
                <a:path w="79" h="69">
                  <a:moveTo>
                    <a:pt x="0" y="69"/>
                  </a:moveTo>
                  <a:cubicBezTo>
                    <a:pt x="15" y="69"/>
                    <a:pt x="15" y="69"/>
                    <a:pt x="15" y="69"/>
                  </a:cubicBezTo>
                  <a:cubicBezTo>
                    <a:pt x="24" y="50"/>
                    <a:pt x="24" y="50"/>
                    <a:pt x="24" y="50"/>
                  </a:cubicBezTo>
                  <a:cubicBezTo>
                    <a:pt x="54" y="50"/>
                    <a:pt x="54" y="50"/>
                    <a:pt x="54" y="50"/>
                  </a:cubicBezTo>
                  <a:cubicBezTo>
                    <a:pt x="63" y="69"/>
                    <a:pt x="63" y="69"/>
                    <a:pt x="63" y="69"/>
                  </a:cubicBezTo>
                  <a:cubicBezTo>
                    <a:pt x="79" y="69"/>
                    <a:pt x="79" y="69"/>
                    <a:pt x="79" y="69"/>
                  </a:cubicBezTo>
                  <a:cubicBezTo>
                    <a:pt x="45" y="3"/>
                    <a:pt x="45" y="3"/>
                    <a:pt x="45" y="3"/>
                  </a:cubicBezTo>
                  <a:cubicBezTo>
                    <a:pt x="44" y="1"/>
                    <a:pt x="41" y="0"/>
                    <a:pt x="39" y="0"/>
                  </a:cubicBezTo>
                  <a:cubicBezTo>
                    <a:pt x="39" y="0"/>
                    <a:pt x="39" y="0"/>
                    <a:pt x="39" y="0"/>
                  </a:cubicBezTo>
                  <a:cubicBezTo>
                    <a:pt x="36" y="0"/>
                    <a:pt x="34" y="1"/>
                    <a:pt x="32" y="3"/>
                  </a:cubicBezTo>
                  <a:lnTo>
                    <a:pt x="0" y="69"/>
                  </a:lnTo>
                  <a:close/>
                  <a:moveTo>
                    <a:pt x="39" y="20"/>
                  </a:moveTo>
                  <a:cubicBezTo>
                    <a:pt x="48" y="39"/>
                    <a:pt x="48" y="39"/>
                    <a:pt x="48" y="39"/>
                  </a:cubicBezTo>
                  <a:cubicBezTo>
                    <a:pt x="29" y="39"/>
                    <a:pt x="29" y="39"/>
                    <a:pt x="29" y="39"/>
                  </a:cubicBezTo>
                  <a:lnTo>
                    <a:pt x="39" y="20"/>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27" name="Freeform 25"/>
            <p:cNvSpPr>
              <a:spLocks/>
            </p:cNvSpPr>
            <p:nvPr/>
          </p:nvSpPr>
          <p:spPr bwMode="auto">
            <a:xfrm>
              <a:off x="4483112" y="4568809"/>
              <a:ext cx="188913" cy="269873"/>
            </a:xfrm>
            <a:custGeom>
              <a:avLst/>
              <a:gdLst/>
              <a:ahLst/>
              <a:cxnLst>
                <a:cxn ang="0">
                  <a:pos x="47" y="38"/>
                </a:cxn>
                <a:cxn ang="0">
                  <a:pos x="44" y="40"/>
                </a:cxn>
                <a:cxn ang="0">
                  <a:pos x="14" y="40"/>
                </a:cxn>
                <a:cxn ang="0">
                  <a:pos x="14" y="56"/>
                </a:cxn>
                <a:cxn ang="0">
                  <a:pos x="50" y="56"/>
                </a:cxn>
                <a:cxn ang="0">
                  <a:pos x="50" y="69"/>
                </a:cxn>
                <a:cxn ang="0">
                  <a:pos x="0" y="69"/>
                </a:cxn>
                <a:cxn ang="0">
                  <a:pos x="0" y="7"/>
                </a:cxn>
                <a:cxn ang="0">
                  <a:pos x="7" y="0"/>
                </a:cxn>
                <a:cxn ang="0">
                  <a:pos x="47" y="0"/>
                </a:cxn>
                <a:cxn ang="0">
                  <a:pos x="50" y="3"/>
                </a:cxn>
                <a:cxn ang="0">
                  <a:pos x="50" y="10"/>
                </a:cxn>
                <a:cxn ang="0">
                  <a:pos x="47" y="13"/>
                </a:cxn>
                <a:cxn ang="0">
                  <a:pos x="14" y="13"/>
                </a:cxn>
                <a:cxn ang="0">
                  <a:pos x="14" y="28"/>
                </a:cxn>
                <a:cxn ang="0">
                  <a:pos x="44" y="28"/>
                </a:cxn>
                <a:cxn ang="0">
                  <a:pos x="47" y="30"/>
                </a:cxn>
                <a:cxn ang="0">
                  <a:pos x="47" y="38"/>
                </a:cxn>
              </a:cxnLst>
              <a:rect l="0" t="0" r="r" b="b"/>
              <a:pathLst>
                <a:path w="50" h="69">
                  <a:moveTo>
                    <a:pt x="47" y="38"/>
                  </a:moveTo>
                  <a:cubicBezTo>
                    <a:pt x="47" y="39"/>
                    <a:pt x="45" y="40"/>
                    <a:pt x="44" y="40"/>
                  </a:cubicBezTo>
                  <a:cubicBezTo>
                    <a:pt x="14" y="40"/>
                    <a:pt x="14" y="40"/>
                    <a:pt x="14" y="40"/>
                  </a:cubicBezTo>
                  <a:cubicBezTo>
                    <a:pt x="14" y="56"/>
                    <a:pt x="14" y="56"/>
                    <a:pt x="14" y="56"/>
                  </a:cubicBezTo>
                  <a:cubicBezTo>
                    <a:pt x="50" y="56"/>
                    <a:pt x="50" y="56"/>
                    <a:pt x="50" y="56"/>
                  </a:cubicBezTo>
                  <a:cubicBezTo>
                    <a:pt x="50" y="69"/>
                    <a:pt x="50" y="69"/>
                    <a:pt x="50" y="69"/>
                  </a:cubicBezTo>
                  <a:cubicBezTo>
                    <a:pt x="0" y="69"/>
                    <a:pt x="0" y="69"/>
                    <a:pt x="0" y="69"/>
                  </a:cubicBezTo>
                  <a:cubicBezTo>
                    <a:pt x="0" y="7"/>
                    <a:pt x="0" y="7"/>
                    <a:pt x="0" y="7"/>
                  </a:cubicBezTo>
                  <a:cubicBezTo>
                    <a:pt x="0" y="3"/>
                    <a:pt x="3" y="0"/>
                    <a:pt x="7" y="0"/>
                  </a:cubicBezTo>
                  <a:cubicBezTo>
                    <a:pt x="47" y="0"/>
                    <a:pt x="47" y="0"/>
                    <a:pt x="47" y="0"/>
                  </a:cubicBezTo>
                  <a:cubicBezTo>
                    <a:pt x="49" y="0"/>
                    <a:pt x="50" y="1"/>
                    <a:pt x="50" y="3"/>
                  </a:cubicBezTo>
                  <a:cubicBezTo>
                    <a:pt x="50" y="10"/>
                    <a:pt x="50" y="10"/>
                    <a:pt x="50" y="10"/>
                  </a:cubicBezTo>
                  <a:cubicBezTo>
                    <a:pt x="50" y="12"/>
                    <a:pt x="49" y="13"/>
                    <a:pt x="47" y="13"/>
                  </a:cubicBezTo>
                  <a:cubicBezTo>
                    <a:pt x="14" y="13"/>
                    <a:pt x="14" y="13"/>
                    <a:pt x="14" y="13"/>
                  </a:cubicBezTo>
                  <a:cubicBezTo>
                    <a:pt x="14" y="28"/>
                    <a:pt x="14" y="28"/>
                    <a:pt x="14" y="28"/>
                  </a:cubicBezTo>
                  <a:cubicBezTo>
                    <a:pt x="44" y="28"/>
                    <a:pt x="44" y="28"/>
                    <a:pt x="44" y="28"/>
                  </a:cubicBezTo>
                  <a:cubicBezTo>
                    <a:pt x="45" y="28"/>
                    <a:pt x="47" y="29"/>
                    <a:pt x="47" y="30"/>
                  </a:cubicBezTo>
                  <a:lnTo>
                    <a:pt x="47" y="3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29" name="Freeform 26"/>
            <p:cNvSpPr>
              <a:spLocks/>
            </p:cNvSpPr>
            <p:nvPr/>
          </p:nvSpPr>
          <p:spPr bwMode="auto">
            <a:xfrm>
              <a:off x="6686560" y="4568783"/>
              <a:ext cx="52387" cy="269872"/>
            </a:xfrm>
            <a:custGeom>
              <a:avLst/>
              <a:gdLst/>
              <a:ahLst/>
              <a:cxnLst>
                <a:cxn ang="0">
                  <a:pos x="0" y="69"/>
                </a:cxn>
                <a:cxn ang="0">
                  <a:pos x="14" y="69"/>
                </a:cxn>
                <a:cxn ang="0">
                  <a:pos x="14" y="5"/>
                </a:cxn>
                <a:cxn ang="0">
                  <a:pos x="9" y="0"/>
                </a:cxn>
                <a:cxn ang="0">
                  <a:pos x="4" y="0"/>
                </a:cxn>
                <a:cxn ang="0">
                  <a:pos x="0" y="5"/>
                </a:cxn>
                <a:cxn ang="0">
                  <a:pos x="0" y="69"/>
                </a:cxn>
              </a:cxnLst>
              <a:rect l="0" t="0" r="r" b="b"/>
              <a:pathLst>
                <a:path w="14" h="69">
                  <a:moveTo>
                    <a:pt x="0" y="69"/>
                  </a:moveTo>
                  <a:cubicBezTo>
                    <a:pt x="14" y="69"/>
                    <a:pt x="14" y="69"/>
                    <a:pt x="14" y="69"/>
                  </a:cubicBezTo>
                  <a:cubicBezTo>
                    <a:pt x="14" y="5"/>
                    <a:pt x="14" y="5"/>
                    <a:pt x="14" y="5"/>
                  </a:cubicBezTo>
                  <a:cubicBezTo>
                    <a:pt x="14" y="2"/>
                    <a:pt x="12" y="0"/>
                    <a:pt x="9" y="0"/>
                  </a:cubicBezTo>
                  <a:cubicBezTo>
                    <a:pt x="4" y="0"/>
                    <a:pt x="4" y="0"/>
                    <a:pt x="4" y="0"/>
                  </a:cubicBezTo>
                  <a:cubicBezTo>
                    <a:pt x="2" y="0"/>
                    <a:pt x="0" y="2"/>
                    <a:pt x="0" y="5"/>
                  </a:cubicBezTo>
                  <a:lnTo>
                    <a:pt x="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0" name="Freeform 27"/>
            <p:cNvSpPr>
              <a:spLocks/>
            </p:cNvSpPr>
            <p:nvPr/>
          </p:nvSpPr>
          <p:spPr bwMode="auto">
            <a:xfrm>
              <a:off x="4081469" y="4568801"/>
              <a:ext cx="49212" cy="269873"/>
            </a:xfrm>
            <a:custGeom>
              <a:avLst/>
              <a:gdLst/>
              <a:ahLst/>
              <a:cxnLst>
                <a:cxn ang="0">
                  <a:pos x="0" y="69"/>
                </a:cxn>
                <a:cxn ang="0">
                  <a:pos x="13" y="69"/>
                </a:cxn>
                <a:cxn ang="0">
                  <a:pos x="13" y="5"/>
                </a:cxn>
                <a:cxn ang="0">
                  <a:pos x="9" y="0"/>
                </a:cxn>
                <a:cxn ang="0">
                  <a:pos x="4" y="0"/>
                </a:cxn>
                <a:cxn ang="0">
                  <a:pos x="0" y="5"/>
                </a:cxn>
                <a:cxn ang="0">
                  <a:pos x="0" y="69"/>
                </a:cxn>
              </a:cxnLst>
              <a:rect l="0" t="0" r="r" b="b"/>
              <a:pathLst>
                <a:path w="13" h="69">
                  <a:moveTo>
                    <a:pt x="0" y="69"/>
                  </a:moveTo>
                  <a:cubicBezTo>
                    <a:pt x="13" y="69"/>
                    <a:pt x="13" y="69"/>
                    <a:pt x="13" y="69"/>
                  </a:cubicBezTo>
                  <a:cubicBezTo>
                    <a:pt x="13" y="5"/>
                    <a:pt x="13" y="5"/>
                    <a:pt x="13" y="5"/>
                  </a:cubicBezTo>
                  <a:cubicBezTo>
                    <a:pt x="13" y="2"/>
                    <a:pt x="11" y="0"/>
                    <a:pt x="9" y="0"/>
                  </a:cubicBezTo>
                  <a:cubicBezTo>
                    <a:pt x="4" y="0"/>
                    <a:pt x="4" y="0"/>
                    <a:pt x="4" y="0"/>
                  </a:cubicBezTo>
                  <a:cubicBezTo>
                    <a:pt x="2" y="0"/>
                    <a:pt x="0" y="2"/>
                    <a:pt x="0" y="5"/>
                  </a:cubicBezTo>
                  <a:lnTo>
                    <a:pt x="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1" name="Freeform 28"/>
            <p:cNvSpPr>
              <a:spLocks/>
            </p:cNvSpPr>
            <p:nvPr/>
          </p:nvSpPr>
          <p:spPr bwMode="auto">
            <a:xfrm>
              <a:off x="6777048" y="4568803"/>
              <a:ext cx="263527" cy="269873"/>
            </a:xfrm>
            <a:custGeom>
              <a:avLst/>
              <a:gdLst/>
              <a:ahLst/>
              <a:cxnLst>
                <a:cxn ang="0">
                  <a:pos x="70" y="69"/>
                </a:cxn>
                <a:cxn ang="0">
                  <a:pos x="60" y="69"/>
                </a:cxn>
                <a:cxn ang="0">
                  <a:pos x="14" y="23"/>
                </a:cxn>
                <a:cxn ang="0">
                  <a:pos x="14" y="69"/>
                </a:cxn>
                <a:cxn ang="0">
                  <a:pos x="0" y="69"/>
                </a:cxn>
                <a:cxn ang="0">
                  <a:pos x="0" y="8"/>
                </a:cxn>
                <a:cxn ang="0">
                  <a:pos x="7" y="0"/>
                </a:cxn>
                <a:cxn ang="0">
                  <a:pos x="7" y="0"/>
                </a:cxn>
                <a:cxn ang="0">
                  <a:pos x="13" y="2"/>
                </a:cxn>
                <a:cxn ang="0">
                  <a:pos x="56" y="45"/>
                </a:cxn>
                <a:cxn ang="0">
                  <a:pos x="56" y="5"/>
                </a:cxn>
                <a:cxn ang="0">
                  <a:pos x="60" y="0"/>
                </a:cxn>
                <a:cxn ang="0">
                  <a:pos x="65" y="0"/>
                </a:cxn>
                <a:cxn ang="0">
                  <a:pos x="70" y="5"/>
                </a:cxn>
                <a:cxn ang="0">
                  <a:pos x="70" y="69"/>
                </a:cxn>
              </a:cxnLst>
              <a:rect l="0" t="0" r="r" b="b"/>
              <a:pathLst>
                <a:path w="70" h="69">
                  <a:moveTo>
                    <a:pt x="70" y="69"/>
                  </a:moveTo>
                  <a:cubicBezTo>
                    <a:pt x="60" y="69"/>
                    <a:pt x="60" y="69"/>
                    <a:pt x="60" y="69"/>
                  </a:cubicBezTo>
                  <a:cubicBezTo>
                    <a:pt x="14" y="23"/>
                    <a:pt x="14" y="23"/>
                    <a:pt x="14" y="23"/>
                  </a:cubicBezTo>
                  <a:cubicBezTo>
                    <a:pt x="14" y="69"/>
                    <a:pt x="14" y="69"/>
                    <a:pt x="14" y="69"/>
                  </a:cubicBezTo>
                  <a:cubicBezTo>
                    <a:pt x="0" y="69"/>
                    <a:pt x="0" y="69"/>
                    <a:pt x="0" y="69"/>
                  </a:cubicBezTo>
                  <a:cubicBezTo>
                    <a:pt x="0" y="8"/>
                    <a:pt x="0" y="8"/>
                    <a:pt x="0" y="8"/>
                  </a:cubicBezTo>
                  <a:cubicBezTo>
                    <a:pt x="0" y="3"/>
                    <a:pt x="3" y="0"/>
                    <a:pt x="7" y="0"/>
                  </a:cubicBezTo>
                  <a:cubicBezTo>
                    <a:pt x="7" y="0"/>
                    <a:pt x="7" y="0"/>
                    <a:pt x="7" y="0"/>
                  </a:cubicBezTo>
                  <a:cubicBezTo>
                    <a:pt x="10" y="0"/>
                    <a:pt x="12" y="1"/>
                    <a:pt x="13" y="2"/>
                  </a:cubicBezTo>
                  <a:cubicBezTo>
                    <a:pt x="56" y="45"/>
                    <a:pt x="56" y="45"/>
                    <a:pt x="56" y="45"/>
                  </a:cubicBezTo>
                  <a:cubicBezTo>
                    <a:pt x="56" y="5"/>
                    <a:pt x="56" y="5"/>
                    <a:pt x="56" y="5"/>
                  </a:cubicBezTo>
                  <a:cubicBezTo>
                    <a:pt x="56" y="2"/>
                    <a:pt x="58" y="0"/>
                    <a:pt x="60" y="0"/>
                  </a:cubicBezTo>
                  <a:cubicBezTo>
                    <a:pt x="65" y="0"/>
                    <a:pt x="65" y="0"/>
                    <a:pt x="65" y="0"/>
                  </a:cubicBezTo>
                  <a:cubicBezTo>
                    <a:pt x="67" y="0"/>
                    <a:pt x="70" y="2"/>
                    <a:pt x="70" y="5"/>
                  </a:cubicBezTo>
                  <a:lnTo>
                    <a:pt x="7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2" name="Freeform 29"/>
            <p:cNvSpPr>
              <a:spLocks/>
            </p:cNvSpPr>
            <p:nvPr/>
          </p:nvSpPr>
          <p:spPr bwMode="auto">
            <a:xfrm>
              <a:off x="6381758" y="4568803"/>
              <a:ext cx="263527" cy="269873"/>
            </a:xfrm>
            <a:custGeom>
              <a:avLst/>
              <a:gdLst/>
              <a:ahLst/>
              <a:cxnLst>
                <a:cxn ang="0">
                  <a:pos x="70" y="69"/>
                </a:cxn>
                <a:cxn ang="0">
                  <a:pos x="60" y="69"/>
                </a:cxn>
                <a:cxn ang="0">
                  <a:pos x="14" y="23"/>
                </a:cxn>
                <a:cxn ang="0">
                  <a:pos x="14" y="69"/>
                </a:cxn>
                <a:cxn ang="0">
                  <a:pos x="0" y="69"/>
                </a:cxn>
                <a:cxn ang="0">
                  <a:pos x="0" y="8"/>
                </a:cxn>
                <a:cxn ang="0">
                  <a:pos x="8" y="0"/>
                </a:cxn>
                <a:cxn ang="0">
                  <a:pos x="8" y="0"/>
                </a:cxn>
                <a:cxn ang="0">
                  <a:pos x="13" y="2"/>
                </a:cxn>
                <a:cxn ang="0">
                  <a:pos x="56" y="45"/>
                </a:cxn>
                <a:cxn ang="0">
                  <a:pos x="56" y="5"/>
                </a:cxn>
                <a:cxn ang="0">
                  <a:pos x="61" y="0"/>
                </a:cxn>
                <a:cxn ang="0">
                  <a:pos x="65" y="0"/>
                </a:cxn>
                <a:cxn ang="0">
                  <a:pos x="70" y="5"/>
                </a:cxn>
                <a:cxn ang="0">
                  <a:pos x="70" y="69"/>
                </a:cxn>
              </a:cxnLst>
              <a:rect l="0" t="0" r="r" b="b"/>
              <a:pathLst>
                <a:path w="70" h="69">
                  <a:moveTo>
                    <a:pt x="70" y="69"/>
                  </a:moveTo>
                  <a:cubicBezTo>
                    <a:pt x="60" y="69"/>
                    <a:pt x="60" y="69"/>
                    <a:pt x="60" y="69"/>
                  </a:cubicBezTo>
                  <a:cubicBezTo>
                    <a:pt x="14" y="23"/>
                    <a:pt x="14" y="23"/>
                    <a:pt x="14" y="23"/>
                  </a:cubicBezTo>
                  <a:cubicBezTo>
                    <a:pt x="14" y="69"/>
                    <a:pt x="14" y="69"/>
                    <a:pt x="14" y="69"/>
                  </a:cubicBezTo>
                  <a:cubicBezTo>
                    <a:pt x="0" y="69"/>
                    <a:pt x="0" y="69"/>
                    <a:pt x="0" y="69"/>
                  </a:cubicBezTo>
                  <a:cubicBezTo>
                    <a:pt x="0" y="8"/>
                    <a:pt x="0" y="8"/>
                    <a:pt x="0" y="8"/>
                  </a:cubicBezTo>
                  <a:cubicBezTo>
                    <a:pt x="0" y="3"/>
                    <a:pt x="4" y="0"/>
                    <a:pt x="8" y="0"/>
                  </a:cubicBezTo>
                  <a:cubicBezTo>
                    <a:pt x="8" y="0"/>
                    <a:pt x="8" y="0"/>
                    <a:pt x="8" y="0"/>
                  </a:cubicBezTo>
                  <a:cubicBezTo>
                    <a:pt x="10" y="0"/>
                    <a:pt x="12" y="1"/>
                    <a:pt x="13" y="2"/>
                  </a:cubicBezTo>
                  <a:cubicBezTo>
                    <a:pt x="56" y="45"/>
                    <a:pt x="56" y="45"/>
                    <a:pt x="56" y="45"/>
                  </a:cubicBezTo>
                  <a:cubicBezTo>
                    <a:pt x="56" y="5"/>
                    <a:pt x="56" y="5"/>
                    <a:pt x="56" y="5"/>
                  </a:cubicBezTo>
                  <a:cubicBezTo>
                    <a:pt x="56" y="2"/>
                    <a:pt x="58" y="0"/>
                    <a:pt x="61" y="0"/>
                  </a:cubicBezTo>
                  <a:cubicBezTo>
                    <a:pt x="65" y="0"/>
                    <a:pt x="65" y="0"/>
                    <a:pt x="65" y="0"/>
                  </a:cubicBezTo>
                  <a:cubicBezTo>
                    <a:pt x="68" y="0"/>
                    <a:pt x="70" y="2"/>
                    <a:pt x="70" y="5"/>
                  </a:cubicBezTo>
                  <a:lnTo>
                    <a:pt x="7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3" name="Freeform 30"/>
            <p:cNvSpPr>
              <a:spLocks/>
            </p:cNvSpPr>
            <p:nvPr/>
          </p:nvSpPr>
          <p:spPr bwMode="auto">
            <a:xfrm>
              <a:off x="6084896" y="4568805"/>
              <a:ext cx="260351" cy="269873"/>
            </a:xfrm>
            <a:custGeom>
              <a:avLst/>
              <a:gdLst/>
              <a:ahLst/>
              <a:cxnLst>
                <a:cxn ang="0">
                  <a:pos x="69" y="69"/>
                </a:cxn>
                <a:cxn ang="0">
                  <a:pos x="59" y="69"/>
                </a:cxn>
                <a:cxn ang="0">
                  <a:pos x="14" y="23"/>
                </a:cxn>
                <a:cxn ang="0">
                  <a:pos x="14" y="69"/>
                </a:cxn>
                <a:cxn ang="0">
                  <a:pos x="0" y="69"/>
                </a:cxn>
                <a:cxn ang="0">
                  <a:pos x="0" y="8"/>
                </a:cxn>
                <a:cxn ang="0">
                  <a:pos x="7" y="0"/>
                </a:cxn>
                <a:cxn ang="0">
                  <a:pos x="7" y="0"/>
                </a:cxn>
                <a:cxn ang="0">
                  <a:pos x="13" y="2"/>
                </a:cxn>
                <a:cxn ang="0">
                  <a:pos x="55" y="45"/>
                </a:cxn>
                <a:cxn ang="0">
                  <a:pos x="55" y="5"/>
                </a:cxn>
                <a:cxn ang="0">
                  <a:pos x="60" y="0"/>
                </a:cxn>
                <a:cxn ang="0">
                  <a:pos x="65" y="0"/>
                </a:cxn>
                <a:cxn ang="0">
                  <a:pos x="69" y="5"/>
                </a:cxn>
                <a:cxn ang="0">
                  <a:pos x="69" y="69"/>
                </a:cxn>
              </a:cxnLst>
              <a:rect l="0" t="0" r="r" b="b"/>
              <a:pathLst>
                <a:path w="69" h="69">
                  <a:moveTo>
                    <a:pt x="69" y="69"/>
                  </a:moveTo>
                  <a:cubicBezTo>
                    <a:pt x="59" y="69"/>
                    <a:pt x="59" y="69"/>
                    <a:pt x="59" y="69"/>
                  </a:cubicBezTo>
                  <a:cubicBezTo>
                    <a:pt x="14" y="23"/>
                    <a:pt x="14" y="23"/>
                    <a:pt x="14" y="23"/>
                  </a:cubicBezTo>
                  <a:cubicBezTo>
                    <a:pt x="14" y="69"/>
                    <a:pt x="14" y="69"/>
                    <a:pt x="14" y="69"/>
                  </a:cubicBezTo>
                  <a:cubicBezTo>
                    <a:pt x="0" y="69"/>
                    <a:pt x="0" y="69"/>
                    <a:pt x="0" y="69"/>
                  </a:cubicBezTo>
                  <a:cubicBezTo>
                    <a:pt x="0" y="8"/>
                    <a:pt x="0" y="8"/>
                    <a:pt x="0" y="8"/>
                  </a:cubicBezTo>
                  <a:cubicBezTo>
                    <a:pt x="0" y="3"/>
                    <a:pt x="3" y="0"/>
                    <a:pt x="7" y="0"/>
                  </a:cubicBezTo>
                  <a:cubicBezTo>
                    <a:pt x="7" y="0"/>
                    <a:pt x="7" y="0"/>
                    <a:pt x="7" y="0"/>
                  </a:cubicBezTo>
                  <a:cubicBezTo>
                    <a:pt x="9" y="0"/>
                    <a:pt x="11" y="1"/>
                    <a:pt x="13" y="2"/>
                  </a:cubicBezTo>
                  <a:cubicBezTo>
                    <a:pt x="55" y="45"/>
                    <a:pt x="55" y="45"/>
                    <a:pt x="55" y="45"/>
                  </a:cubicBezTo>
                  <a:cubicBezTo>
                    <a:pt x="55" y="5"/>
                    <a:pt x="55" y="5"/>
                    <a:pt x="55" y="5"/>
                  </a:cubicBezTo>
                  <a:cubicBezTo>
                    <a:pt x="55" y="2"/>
                    <a:pt x="57" y="0"/>
                    <a:pt x="60" y="0"/>
                  </a:cubicBezTo>
                  <a:cubicBezTo>
                    <a:pt x="65" y="0"/>
                    <a:pt x="65" y="0"/>
                    <a:pt x="65" y="0"/>
                  </a:cubicBezTo>
                  <a:cubicBezTo>
                    <a:pt x="67" y="0"/>
                    <a:pt x="69" y="2"/>
                    <a:pt x="69" y="5"/>
                  </a:cubicBezTo>
                  <a:lnTo>
                    <a:pt x="69"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4" name="Freeform 31"/>
            <p:cNvSpPr>
              <a:spLocks/>
            </p:cNvSpPr>
            <p:nvPr/>
          </p:nvSpPr>
          <p:spPr bwMode="auto">
            <a:xfrm>
              <a:off x="4175132" y="4568803"/>
              <a:ext cx="263527" cy="269873"/>
            </a:xfrm>
            <a:custGeom>
              <a:avLst/>
              <a:gdLst/>
              <a:ahLst/>
              <a:cxnLst>
                <a:cxn ang="0">
                  <a:pos x="70" y="69"/>
                </a:cxn>
                <a:cxn ang="0">
                  <a:pos x="60" y="69"/>
                </a:cxn>
                <a:cxn ang="0">
                  <a:pos x="14" y="23"/>
                </a:cxn>
                <a:cxn ang="0">
                  <a:pos x="14" y="69"/>
                </a:cxn>
                <a:cxn ang="0">
                  <a:pos x="0" y="69"/>
                </a:cxn>
                <a:cxn ang="0">
                  <a:pos x="0" y="8"/>
                </a:cxn>
                <a:cxn ang="0">
                  <a:pos x="8" y="0"/>
                </a:cxn>
                <a:cxn ang="0">
                  <a:pos x="8" y="0"/>
                </a:cxn>
                <a:cxn ang="0">
                  <a:pos x="13" y="2"/>
                </a:cxn>
                <a:cxn ang="0">
                  <a:pos x="56" y="45"/>
                </a:cxn>
                <a:cxn ang="0">
                  <a:pos x="56" y="5"/>
                </a:cxn>
                <a:cxn ang="0">
                  <a:pos x="61" y="0"/>
                </a:cxn>
                <a:cxn ang="0">
                  <a:pos x="65" y="0"/>
                </a:cxn>
                <a:cxn ang="0">
                  <a:pos x="70" y="5"/>
                </a:cxn>
                <a:cxn ang="0">
                  <a:pos x="70" y="69"/>
                </a:cxn>
              </a:cxnLst>
              <a:rect l="0" t="0" r="r" b="b"/>
              <a:pathLst>
                <a:path w="70" h="69">
                  <a:moveTo>
                    <a:pt x="70" y="69"/>
                  </a:moveTo>
                  <a:cubicBezTo>
                    <a:pt x="60" y="69"/>
                    <a:pt x="60" y="69"/>
                    <a:pt x="60" y="69"/>
                  </a:cubicBezTo>
                  <a:cubicBezTo>
                    <a:pt x="14" y="23"/>
                    <a:pt x="14" y="23"/>
                    <a:pt x="14" y="23"/>
                  </a:cubicBezTo>
                  <a:cubicBezTo>
                    <a:pt x="14" y="69"/>
                    <a:pt x="14" y="69"/>
                    <a:pt x="14" y="69"/>
                  </a:cubicBezTo>
                  <a:cubicBezTo>
                    <a:pt x="0" y="69"/>
                    <a:pt x="0" y="69"/>
                    <a:pt x="0" y="69"/>
                  </a:cubicBezTo>
                  <a:cubicBezTo>
                    <a:pt x="0" y="8"/>
                    <a:pt x="0" y="8"/>
                    <a:pt x="0" y="8"/>
                  </a:cubicBezTo>
                  <a:cubicBezTo>
                    <a:pt x="0" y="3"/>
                    <a:pt x="4" y="0"/>
                    <a:pt x="8" y="0"/>
                  </a:cubicBezTo>
                  <a:cubicBezTo>
                    <a:pt x="8" y="0"/>
                    <a:pt x="8" y="0"/>
                    <a:pt x="8" y="0"/>
                  </a:cubicBezTo>
                  <a:cubicBezTo>
                    <a:pt x="10" y="0"/>
                    <a:pt x="12" y="1"/>
                    <a:pt x="13" y="2"/>
                  </a:cubicBezTo>
                  <a:cubicBezTo>
                    <a:pt x="56" y="45"/>
                    <a:pt x="56" y="45"/>
                    <a:pt x="56" y="45"/>
                  </a:cubicBezTo>
                  <a:cubicBezTo>
                    <a:pt x="56" y="5"/>
                    <a:pt x="56" y="5"/>
                    <a:pt x="56" y="5"/>
                  </a:cubicBezTo>
                  <a:cubicBezTo>
                    <a:pt x="56" y="2"/>
                    <a:pt x="58" y="0"/>
                    <a:pt x="61" y="0"/>
                  </a:cubicBezTo>
                  <a:cubicBezTo>
                    <a:pt x="65" y="0"/>
                    <a:pt x="65" y="0"/>
                    <a:pt x="65" y="0"/>
                  </a:cubicBezTo>
                  <a:cubicBezTo>
                    <a:pt x="68" y="0"/>
                    <a:pt x="70" y="2"/>
                    <a:pt x="70" y="5"/>
                  </a:cubicBezTo>
                  <a:lnTo>
                    <a:pt x="7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5" name="Freeform 32"/>
            <p:cNvSpPr>
              <a:spLocks/>
            </p:cNvSpPr>
            <p:nvPr/>
          </p:nvSpPr>
          <p:spPr bwMode="auto">
            <a:xfrm>
              <a:off x="4957769" y="4568828"/>
              <a:ext cx="225425" cy="273050"/>
            </a:xfrm>
            <a:custGeom>
              <a:avLst/>
              <a:gdLst/>
              <a:ahLst/>
              <a:cxnLst>
                <a:cxn ang="0">
                  <a:pos x="33" y="28"/>
                </a:cxn>
                <a:cxn ang="0">
                  <a:pos x="17" y="20"/>
                </a:cxn>
                <a:cxn ang="0">
                  <a:pos x="31" y="12"/>
                </a:cxn>
                <a:cxn ang="0">
                  <a:pos x="51" y="17"/>
                </a:cxn>
                <a:cxn ang="0">
                  <a:pos x="52" y="18"/>
                </a:cxn>
                <a:cxn ang="0">
                  <a:pos x="53" y="17"/>
                </a:cxn>
                <a:cxn ang="0">
                  <a:pos x="57" y="8"/>
                </a:cxn>
                <a:cxn ang="0">
                  <a:pos x="58" y="8"/>
                </a:cxn>
                <a:cxn ang="0">
                  <a:pos x="57" y="6"/>
                </a:cxn>
                <a:cxn ang="0">
                  <a:pos x="56" y="6"/>
                </a:cxn>
                <a:cxn ang="0">
                  <a:pos x="30" y="0"/>
                </a:cxn>
                <a:cxn ang="0">
                  <a:pos x="3" y="20"/>
                </a:cxn>
                <a:cxn ang="0">
                  <a:pos x="10" y="35"/>
                </a:cxn>
                <a:cxn ang="0">
                  <a:pos x="30" y="41"/>
                </a:cxn>
                <a:cxn ang="0">
                  <a:pos x="45" y="48"/>
                </a:cxn>
                <a:cxn ang="0">
                  <a:pos x="29" y="57"/>
                </a:cxn>
                <a:cxn ang="0">
                  <a:pos x="8" y="51"/>
                </a:cxn>
                <a:cxn ang="0">
                  <a:pos x="7" y="50"/>
                </a:cxn>
                <a:cxn ang="0">
                  <a:pos x="0" y="62"/>
                </a:cxn>
                <a:cxn ang="0">
                  <a:pos x="2" y="63"/>
                </a:cxn>
                <a:cxn ang="0">
                  <a:pos x="29" y="70"/>
                </a:cxn>
                <a:cxn ang="0">
                  <a:pos x="60" y="48"/>
                </a:cxn>
                <a:cxn ang="0">
                  <a:pos x="33" y="28"/>
                </a:cxn>
              </a:cxnLst>
              <a:rect l="0" t="0" r="r" b="b"/>
              <a:pathLst>
                <a:path w="60" h="70">
                  <a:moveTo>
                    <a:pt x="33" y="28"/>
                  </a:moveTo>
                  <a:cubicBezTo>
                    <a:pt x="23" y="26"/>
                    <a:pt x="17" y="25"/>
                    <a:pt x="17" y="20"/>
                  </a:cubicBezTo>
                  <a:cubicBezTo>
                    <a:pt x="17" y="15"/>
                    <a:pt x="22" y="12"/>
                    <a:pt x="31" y="12"/>
                  </a:cubicBezTo>
                  <a:cubicBezTo>
                    <a:pt x="40" y="12"/>
                    <a:pt x="48" y="16"/>
                    <a:pt x="51" y="17"/>
                  </a:cubicBezTo>
                  <a:cubicBezTo>
                    <a:pt x="51" y="17"/>
                    <a:pt x="52" y="18"/>
                    <a:pt x="52" y="18"/>
                  </a:cubicBezTo>
                  <a:cubicBezTo>
                    <a:pt x="52" y="18"/>
                    <a:pt x="53" y="17"/>
                    <a:pt x="53" y="17"/>
                  </a:cubicBezTo>
                  <a:cubicBezTo>
                    <a:pt x="57" y="8"/>
                    <a:pt x="57" y="8"/>
                    <a:pt x="57" y="8"/>
                  </a:cubicBezTo>
                  <a:cubicBezTo>
                    <a:pt x="58" y="8"/>
                    <a:pt x="58" y="8"/>
                    <a:pt x="58" y="8"/>
                  </a:cubicBezTo>
                  <a:cubicBezTo>
                    <a:pt x="58" y="7"/>
                    <a:pt x="57" y="6"/>
                    <a:pt x="57" y="6"/>
                  </a:cubicBezTo>
                  <a:cubicBezTo>
                    <a:pt x="56" y="6"/>
                    <a:pt x="56" y="6"/>
                    <a:pt x="56" y="6"/>
                  </a:cubicBezTo>
                  <a:cubicBezTo>
                    <a:pt x="49" y="2"/>
                    <a:pt x="39" y="0"/>
                    <a:pt x="30" y="0"/>
                  </a:cubicBezTo>
                  <a:cubicBezTo>
                    <a:pt x="13" y="0"/>
                    <a:pt x="3" y="7"/>
                    <a:pt x="3" y="20"/>
                  </a:cubicBezTo>
                  <a:cubicBezTo>
                    <a:pt x="3" y="27"/>
                    <a:pt x="5" y="31"/>
                    <a:pt x="10" y="35"/>
                  </a:cubicBezTo>
                  <a:cubicBezTo>
                    <a:pt x="15" y="39"/>
                    <a:pt x="23" y="40"/>
                    <a:pt x="30" y="41"/>
                  </a:cubicBezTo>
                  <a:cubicBezTo>
                    <a:pt x="39" y="42"/>
                    <a:pt x="45" y="43"/>
                    <a:pt x="45" y="48"/>
                  </a:cubicBezTo>
                  <a:cubicBezTo>
                    <a:pt x="45" y="56"/>
                    <a:pt x="34" y="57"/>
                    <a:pt x="29" y="57"/>
                  </a:cubicBezTo>
                  <a:cubicBezTo>
                    <a:pt x="21" y="57"/>
                    <a:pt x="14" y="55"/>
                    <a:pt x="8" y="51"/>
                  </a:cubicBezTo>
                  <a:cubicBezTo>
                    <a:pt x="7" y="50"/>
                    <a:pt x="7" y="50"/>
                    <a:pt x="7" y="50"/>
                  </a:cubicBezTo>
                  <a:cubicBezTo>
                    <a:pt x="0" y="62"/>
                    <a:pt x="0" y="62"/>
                    <a:pt x="0" y="62"/>
                  </a:cubicBezTo>
                  <a:cubicBezTo>
                    <a:pt x="2" y="63"/>
                    <a:pt x="2" y="63"/>
                    <a:pt x="2" y="63"/>
                  </a:cubicBezTo>
                  <a:cubicBezTo>
                    <a:pt x="7" y="66"/>
                    <a:pt x="16" y="70"/>
                    <a:pt x="29" y="70"/>
                  </a:cubicBezTo>
                  <a:cubicBezTo>
                    <a:pt x="47" y="70"/>
                    <a:pt x="60" y="61"/>
                    <a:pt x="60" y="48"/>
                  </a:cubicBezTo>
                  <a:cubicBezTo>
                    <a:pt x="60" y="32"/>
                    <a:pt x="45" y="30"/>
                    <a:pt x="33" y="28"/>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6" name="Freeform 33"/>
            <p:cNvSpPr>
              <a:spLocks/>
            </p:cNvSpPr>
            <p:nvPr/>
          </p:nvSpPr>
          <p:spPr bwMode="auto">
            <a:xfrm>
              <a:off x="4705356" y="4568803"/>
              <a:ext cx="222249" cy="273049"/>
            </a:xfrm>
            <a:custGeom>
              <a:avLst/>
              <a:gdLst/>
              <a:ahLst/>
              <a:cxnLst>
                <a:cxn ang="0">
                  <a:pos x="33" y="28"/>
                </a:cxn>
                <a:cxn ang="0">
                  <a:pos x="17" y="20"/>
                </a:cxn>
                <a:cxn ang="0">
                  <a:pos x="31" y="12"/>
                </a:cxn>
                <a:cxn ang="0">
                  <a:pos x="51" y="17"/>
                </a:cxn>
                <a:cxn ang="0">
                  <a:pos x="52" y="18"/>
                </a:cxn>
                <a:cxn ang="0">
                  <a:pos x="53" y="17"/>
                </a:cxn>
                <a:cxn ang="0">
                  <a:pos x="57" y="8"/>
                </a:cxn>
                <a:cxn ang="0">
                  <a:pos x="57" y="8"/>
                </a:cxn>
                <a:cxn ang="0">
                  <a:pos x="56" y="6"/>
                </a:cxn>
                <a:cxn ang="0">
                  <a:pos x="56" y="6"/>
                </a:cxn>
                <a:cxn ang="0">
                  <a:pos x="30" y="0"/>
                </a:cxn>
                <a:cxn ang="0">
                  <a:pos x="3" y="20"/>
                </a:cxn>
                <a:cxn ang="0">
                  <a:pos x="9" y="35"/>
                </a:cxn>
                <a:cxn ang="0">
                  <a:pos x="30" y="41"/>
                </a:cxn>
                <a:cxn ang="0">
                  <a:pos x="45" y="48"/>
                </a:cxn>
                <a:cxn ang="0">
                  <a:pos x="29" y="57"/>
                </a:cxn>
                <a:cxn ang="0">
                  <a:pos x="8" y="51"/>
                </a:cxn>
                <a:cxn ang="0">
                  <a:pos x="7" y="50"/>
                </a:cxn>
                <a:cxn ang="0">
                  <a:pos x="0" y="62"/>
                </a:cxn>
                <a:cxn ang="0">
                  <a:pos x="2" y="63"/>
                </a:cxn>
                <a:cxn ang="0">
                  <a:pos x="29" y="70"/>
                </a:cxn>
                <a:cxn ang="0">
                  <a:pos x="59" y="48"/>
                </a:cxn>
                <a:cxn ang="0">
                  <a:pos x="33" y="28"/>
                </a:cxn>
              </a:cxnLst>
              <a:rect l="0" t="0" r="r" b="b"/>
              <a:pathLst>
                <a:path w="59" h="70">
                  <a:moveTo>
                    <a:pt x="33" y="28"/>
                  </a:moveTo>
                  <a:cubicBezTo>
                    <a:pt x="23" y="26"/>
                    <a:pt x="17" y="25"/>
                    <a:pt x="17" y="20"/>
                  </a:cubicBezTo>
                  <a:cubicBezTo>
                    <a:pt x="17" y="15"/>
                    <a:pt x="22" y="12"/>
                    <a:pt x="31" y="12"/>
                  </a:cubicBezTo>
                  <a:cubicBezTo>
                    <a:pt x="40" y="12"/>
                    <a:pt x="48" y="16"/>
                    <a:pt x="51" y="17"/>
                  </a:cubicBezTo>
                  <a:cubicBezTo>
                    <a:pt x="51" y="17"/>
                    <a:pt x="51" y="18"/>
                    <a:pt x="52" y="18"/>
                  </a:cubicBezTo>
                  <a:cubicBezTo>
                    <a:pt x="52" y="18"/>
                    <a:pt x="53" y="17"/>
                    <a:pt x="53" y="17"/>
                  </a:cubicBezTo>
                  <a:cubicBezTo>
                    <a:pt x="57" y="8"/>
                    <a:pt x="57" y="8"/>
                    <a:pt x="57" y="8"/>
                  </a:cubicBezTo>
                  <a:cubicBezTo>
                    <a:pt x="57" y="8"/>
                    <a:pt x="57" y="8"/>
                    <a:pt x="57" y="8"/>
                  </a:cubicBezTo>
                  <a:cubicBezTo>
                    <a:pt x="57" y="7"/>
                    <a:pt x="57" y="6"/>
                    <a:pt x="56" y="6"/>
                  </a:cubicBezTo>
                  <a:cubicBezTo>
                    <a:pt x="56" y="6"/>
                    <a:pt x="56" y="6"/>
                    <a:pt x="56" y="6"/>
                  </a:cubicBezTo>
                  <a:cubicBezTo>
                    <a:pt x="49" y="2"/>
                    <a:pt x="39" y="0"/>
                    <a:pt x="30" y="0"/>
                  </a:cubicBezTo>
                  <a:cubicBezTo>
                    <a:pt x="13" y="0"/>
                    <a:pt x="3" y="7"/>
                    <a:pt x="3" y="20"/>
                  </a:cubicBezTo>
                  <a:cubicBezTo>
                    <a:pt x="3" y="27"/>
                    <a:pt x="5" y="31"/>
                    <a:pt x="9" y="35"/>
                  </a:cubicBezTo>
                  <a:cubicBezTo>
                    <a:pt x="15" y="39"/>
                    <a:pt x="23" y="40"/>
                    <a:pt x="30" y="41"/>
                  </a:cubicBezTo>
                  <a:cubicBezTo>
                    <a:pt x="39" y="42"/>
                    <a:pt x="45" y="43"/>
                    <a:pt x="45" y="48"/>
                  </a:cubicBezTo>
                  <a:cubicBezTo>
                    <a:pt x="45" y="56"/>
                    <a:pt x="34" y="57"/>
                    <a:pt x="29" y="57"/>
                  </a:cubicBezTo>
                  <a:cubicBezTo>
                    <a:pt x="21" y="57"/>
                    <a:pt x="14" y="55"/>
                    <a:pt x="8" y="51"/>
                  </a:cubicBezTo>
                  <a:cubicBezTo>
                    <a:pt x="7" y="50"/>
                    <a:pt x="7" y="50"/>
                    <a:pt x="7" y="50"/>
                  </a:cubicBezTo>
                  <a:cubicBezTo>
                    <a:pt x="0" y="62"/>
                    <a:pt x="0" y="62"/>
                    <a:pt x="0" y="62"/>
                  </a:cubicBezTo>
                  <a:cubicBezTo>
                    <a:pt x="2" y="63"/>
                    <a:pt x="2" y="63"/>
                    <a:pt x="2" y="63"/>
                  </a:cubicBezTo>
                  <a:cubicBezTo>
                    <a:pt x="7" y="66"/>
                    <a:pt x="15" y="70"/>
                    <a:pt x="29" y="70"/>
                  </a:cubicBezTo>
                  <a:cubicBezTo>
                    <a:pt x="47" y="70"/>
                    <a:pt x="59" y="61"/>
                    <a:pt x="59" y="48"/>
                  </a:cubicBezTo>
                  <a:cubicBezTo>
                    <a:pt x="59" y="32"/>
                    <a:pt x="45" y="30"/>
                    <a:pt x="33" y="28"/>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7" name="Freeform 34"/>
            <p:cNvSpPr>
              <a:spLocks/>
            </p:cNvSpPr>
            <p:nvPr/>
          </p:nvSpPr>
          <p:spPr bwMode="auto">
            <a:xfrm>
              <a:off x="3814767" y="4568821"/>
              <a:ext cx="225425" cy="273050"/>
            </a:xfrm>
            <a:custGeom>
              <a:avLst/>
              <a:gdLst/>
              <a:ahLst/>
              <a:cxnLst>
                <a:cxn ang="0">
                  <a:pos x="33" y="28"/>
                </a:cxn>
                <a:cxn ang="0">
                  <a:pos x="17" y="20"/>
                </a:cxn>
                <a:cxn ang="0">
                  <a:pos x="31" y="12"/>
                </a:cxn>
                <a:cxn ang="0">
                  <a:pos x="51" y="17"/>
                </a:cxn>
                <a:cxn ang="0">
                  <a:pos x="52" y="18"/>
                </a:cxn>
                <a:cxn ang="0">
                  <a:pos x="53" y="17"/>
                </a:cxn>
                <a:cxn ang="0">
                  <a:pos x="57" y="8"/>
                </a:cxn>
                <a:cxn ang="0">
                  <a:pos x="57" y="8"/>
                </a:cxn>
                <a:cxn ang="0">
                  <a:pos x="56" y="6"/>
                </a:cxn>
                <a:cxn ang="0">
                  <a:pos x="56" y="6"/>
                </a:cxn>
                <a:cxn ang="0">
                  <a:pos x="30" y="0"/>
                </a:cxn>
                <a:cxn ang="0">
                  <a:pos x="3" y="20"/>
                </a:cxn>
                <a:cxn ang="0">
                  <a:pos x="10" y="35"/>
                </a:cxn>
                <a:cxn ang="0">
                  <a:pos x="30" y="41"/>
                </a:cxn>
                <a:cxn ang="0">
                  <a:pos x="45" y="48"/>
                </a:cxn>
                <a:cxn ang="0">
                  <a:pos x="29" y="57"/>
                </a:cxn>
                <a:cxn ang="0">
                  <a:pos x="8" y="51"/>
                </a:cxn>
                <a:cxn ang="0">
                  <a:pos x="7" y="50"/>
                </a:cxn>
                <a:cxn ang="0">
                  <a:pos x="0" y="62"/>
                </a:cxn>
                <a:cxn ang="0">
                  <a:pos x="2" y="63"/>
                </a:cxn>
                <a:cxn ang="0">
                  <a:pos x="29" y="70"/>
                </a:cxn>
                <a:cxn ang="0">
                  <a:pos x="60" y="48"/>
                </a:cxn>
                <a:cxn ang="0">
                  <a:pos x="33" y="28"/>
                </a:cxn>
              </a:cxnLst>
              <a:rect l="0" t="0" r="r" b="b"/>
              <a:pathLst>
                <a:path w="60" h="70">
                  <a:moveTo>
                    <a:pt x="33" y="28"/>
                  </a:moveTo>
                  <a:cubicBezTo>
                    <a:pt x="23" y="26"/>
                    <a:pt x="17" y="25"/>
                    <a:pt x="17" y="20"/>
                  </a:cubicBezTo>
                  <a:cubicBezTo>
                    <a:pt x="17" y="15"/>
                    <a:pt x="22" y="12"/>
                    <a:pt x="31" y="12"/>
                  </a:cubicBezTo>
                  <a:cubicBezTo>
                    <a:pt x="40" y="12"/>
                    <a:pt x="48" y="16"/>
                    <a:pt x="51" y="17"/>
                  </a:cubicBezTo>
                  <a:cubicBezTo>
                    <a:pt x="51" y="17"/>
                    <a:pt x="51" y="18"/>
                    <a:pt x="52" y="18"/>
                  </a:cubicBezTo>
                  <a:cubicBezTo>
                    <a:pt x="52" y="18"/>
                    <a:pt x="53" y="17"/>
                    <a:pt x="53" y="17"/>
                  </a:cubicBezTo>
                  <a:cubicBezTo>
                    <a:pt x="57" y="8"/>
                    <a:pt x="57" y="8"/>
                    <a:pt x="57" y="8"/>
                  </a:cubicBezTo>
                  <a:cubicBezTo>
                    <a:pt x="57" y="8"/>
                    <a:pt x="57" y="8"/>
                    <a:pt x="57" y="8"/>
                  </a:cubicBezTo>
                  <a:cubicBezTo>
                    <a:pt x="57" y="7"/>
                    <a:pt x="57" y="6"/>
                    <a:pt x="56" y="6"/>
                  </a:cubicBezTo>
                  <a:cubicBezTo>
                    <a:pt x="56" y="6"/>
                    <a:pt x="56" y="6"/>
                    <a:pt x="56" y="6"/>
                  </a:cubicBezTo>
                  <a:cubicBezTo>
                    <a:pt x="49" y="2"/>
                    <a:pt x="39" y="0"/>
                    <a:pt x="30" y="0"/>
                  </a:cubicBezTo>
                  <a:cubicBezTo>
                    <a:pt x="13" y="0"/>
                    <a:pt x="3" y="7"/>
                    <a:pt x="3" y="20"/>
                  </a:cubicBezTo>
                  <a:cubicBezTo>
                    <a:pt x="3" y="27"/>
                    <a:pt x="5" y="31"/>
                    <a:pt x="10" y="35"/>
                  </a:cubicBezTo>
                  <a:cubicBezTo>
                    <a:pt x="15" y="39"/>
                    <a:pt x="23" y="40"/>
                    <a:pt x="30" y="41"/>
                  </a:cubicBezTo>
                  <a:cubicBezTo>
                    <a:pt x="39" y="42"/>
                    <a:pt x="45" y="43"/>
                    <a:pt x="45" y="48"/>
                  </a:cubicBezTo>
                  <a:cubicBezTo>
                    <a:pt x="45" y="56"/>
                    <a:pt x="34" y="57"/>
                    <a:pt x="29" y="57"/>
                  </a:cubicBezTo>
                  <a:cubicBezTo>
                    <a:pt x="21" y="57"/>
                    <a:pt x="14" y="55"/>
                    <a:pt x="8" y="51"/>
                  </a:cubicBezTo>
                  <a:cubicBezTo>
                    <a:pt x="7" y="50"/>
                    <a:pt x="7" y="50"/>
                    <a:pt x="7" y="50"/>
                  </a:cubicBezTo>
                  <a:cubicBezTo>
                    <a:pt x="0" y="62"/>
                    <a:pt x="0" y="62"/>
                    <a:pt x="0" y="62"/>
                  </a:cubicBezTo>
                  <a:cubicBezTo>
                    <a:pt x="2" y="63"/>
                    <a:pt x="2" y="63"/>
                    <a:pt x="2" y="63"/>
                  </a:cubicBezTo>
                  <a:cubicBezTo>
                    <a:pt x="7" y="66"/>
                    <a:pt x="16" y="70"/>
                    <a:pt x="29" y="70"/>
                  </a:cubicBezTo>
                  <a:cubicBezTo>
                    <a:pt x="47" y="70"/>
                    <a:pt x="60" y="61"/>
                    <a:pt x="60" y="48"/>
                  </a:cubicBezTo>
                  <a:cubicBezTo>
                    <a:pt x="60" y="32"/>
                    <a:pt x="45" y="30"/>
                    <a:pt x="33" y="28"/>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8" name="Freeform 35"/>
            <p:cNvSpPr>
              <a:spLocks/>
            </p:cNvSpPr>
            <p:nvPr/>
          </p:nvSpPr>
          <p:spPr bwMode="auto">
            <a:xfrm>
              <a:off x="5559430" y="4568825"/>
              <a:ext cx="187326" cy="269874"/>
            </a:xfrm>
            <a:custGeom>
              <a:avLst/>
              <a:gdLst/>
              <a:ahLst/>
              <a:cxnLst>
                <a:cxn ang="0">
                  <a:pos x="14" y="56"/>
                </a:cxn>
                <a:cxn ang="0">
                  <a:pos x="14" y="5"/>
                </a:cxn>
                <a:cxn ang="0">
                  <a:pos x="9" y="0"/>
                </a:cxn>
                <a:cxn ang="0">
                  <a:pos x="5" y="0"/>
                </a:cxn>
                <a:cxn ang="0">
                  <a:pos x="0" y="5"/>
                </a:cxn>
                <a:cxn ang="0">
                  <a:pos x="0" y="69"/>
                </a:cxn>
                <a:cxn ang="0">
                  <a:pos x="50" y="69"/>
                </a:cxn>
                <a:cxn ang="0">
                  <a:pos x="50" y="56"/>
                </a:cxn>
                <a:cxn ang="0">
                  <a:pos x="14" y="56"/>
                </a:cxn>
              </a:cxnLst>
              <a:rect l="0" t="0" r="r" b="b"/>
              <a:pathLst>
                <a:path w="50" h="69">
                  <a:moveTo>
                    <a:pt x="14" y="56"/>
                  </a:moveTo>
                  <a:cubicBezTo>
                    <a:pt x="14" y="54"/>
                    <a:pt x="14" y="17"/>
                    <a:pt x="14" y="5"/>
                  </a:cubicBezTo>
                  <a:cubicBezTo>
                    <a:pt x="14" y="2"/>
                    <a:pt x="12" y="0"/>
                    <a:pt x="9" y="0"/>
                  </a:cubicBezTo>
                  <a:cubicBezTo>
                    <a:pt x="5" y="0"/>
                    <a:pt x="5" y="0"/>
                    <a:pt x="5" y="0"/>
                  </a:cubicBezTo>
                  <a:cubicBezTo>
                    <a:pt x="2" y="0"/>
                    <a:pt x="0" y="2"/>
                    <a:pt x="0" y="5"/>
                  </a:cubicBezTo>
                  <a:cubicBezTo>
                    <a:pt x="0" y="69"/>
                    <a:pt x="0" y="69"/>
                    <a:pt x="0" y="69"/>
                  </a:cubicBezTo>
                  <a:cubicBezTo>
                    <a:pt x="50" y="69"/>
                    <a:pt x="50" y="69"/>
                    <a:pt x="50" y="69"/>
                  </a:cubicBezTo>
                  <a:cubicBezTo>
                    <a:pt x="50" y="56"/>
                    <a:pt x="50" y="56"/>
                    <a:pt x="50" y="56"/>
                  </a:cubicBezTo>
                  <a:cubicBezTo>
                    <a:pt x="50" y="56"/>
                    <a:pt x="17" y="56"/>
                    <a:pt x="14" y="56"/>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dirty="0">
                <a:solidFill>
                  <a:schemeClr val="tx1"/>
                </a:solidFill>
                <a:latin typeface="+mn-lt"/>
                <a:ea typeface="+mn-ea"/>
                <a:cs typeface="+mn-cs"/>
              </a:endParaRPr>
            </a:p>
          </p:txBody>
        </p:sp>
        <p:sp>
          <p:nvSpPr>
            <p:cNvPr id="43" name="Freeform 36"/>
            <p:cNvSpPr>
              <a:spLocks/>
            </p:cNvSpPr>
            <p:nvPr/>
          </p:nvSpPr>
          <p:spPr bwMode="auto">
            <a:xfrm>
              <a:off x="3529015" y="4568823"/>
              <a:ext cx="255589" cy="273050"/>
            </a:xfrm>
            <a:custGeom>
              <a:avLst/>
              <a:gdLst/>
              <a:ahLst/>
              <a:cxnLst>
                <a:cxn ang="0">
                  <a:pos x="63" y="0"/>
                </a:cxn>
                <a:cxn ang="0">
                  <a:pos x="58" y="0"/>
                </a:cxn>
                <a:cxn ang="0">
                  <a:pos x="54" y="5"/>
                </a:cxn>
                <a:cxn ang="0">
                  <a:pos x="54" y="39"/>
                </a:cxn>
                <a:cxn ang="0">
                  <a:pos x="52" y="48"/>
                </a:cxn>
                <a:cxn ang="0">
                  <a:pos x="34" y="57"/>
                </a:cxn>
                <a:cxn ang="0">
                  <a:pos x="15" y="48"/>
                </a:cxn>
                <a:cxn ang="0">
                  <a:pos x="14" y="39"/>
                </a:cxn>
                <a:cxn ang="0">
                  <a:pos x="14" y="5"/>
                </a:cxn>
                <a:cxn ang="0">
                  <a:pos x="9" y="0"/>
                </a:cxn>
                <a:cxn ang="0">
                  <a:pos x="5" y="0"/>
                </a:cxn>
                <a:cxn ang="0">
                  <a:pos x="0" y="5"/>
                </a:cxn>
                <a:cxn ang="0">
                  <a:pos x="0" y="40"/>
                </a:cxn>
                <a:cxn ang="0">
                  <a:pos x="2" y="52"/>
                </a:cxn>
                <a:cxn ang="0">
                  <a:pos x="34" y="70"/>
                </a:cxn>
                <a:cxn ang="0">
                  <a:pos x="65" y="53"/>
                </a:cxn>
                <a:cxn ang="0">
                  <a:pos x="68" y="40"/>
                </a:cxn>
                <a:cxn ang="0">
                  <a:pos x="68" y="5"/>
                </a:cxn>
                <a:cxn ang="0">
                  <a:pos x="63" y="0"/>
                </a:cxn>
              </a:cxnLst>
              <a:rect l="0" t="0" r="r" b="b"/>
              <a:pathLst>
                <a:path w="68" h="70">
                  <a:moveTo>
                    <a:pt x="63" y="0"/>
                  </a:moveTo>
                  <a:cubicBezTo>
                    <a:pt x="58" y="0"/>
                    <a:pt x="58" y="0"/>
                    <a:pt x="58" y="0"/>
                  </a:cubicBezTo>
                  <a:cubicBezTo>
                    <a:pt x="56" y="0"/>
                    <a:pt x="54" y="2"/>
                    <a:pt x="54" y="5"/>
                  </a:cubicBezTo>
                  <a:cubicBezTo>
                    <a:pt x="54" y="39"/>
                    <a:pt x="54" y="39"/>
                    <a:pt x="54" y="39"/>
                  </a:cubicBezTo>
                  <a:cubicBezTo>
                    <a:pt x="54" y="43"/>
                    <a:pt x="53" y="46"/>
                    <a:pt x="52" y="48"/>
                  </a:cubicBezTo>
                  <a:cubicBezTo>
                    <a:pt x="49" y="54"/>
                    <a:pt x="44" y="57"/>
                    <a:pt x="34" y="57"/>
                  </a:cubicBezTo>
                  <a:cubicBezTo>
                    <a:pt x="24" y="57"/>
                    <a:pt x="18" y="54"/>
                    <a:pt x="15" y="48"/>
                  </a:cubicBezTo>
                  <a:cubicBezTo>
                    <a:pt x="14" y="45"/>
                    <a:pt x="14" y="43"/>
                    <a:pt x="14" y="39"/>
                  </a:cubicBezTo>
                  <a:cubicBezTo>
                    <a:pt x="14" y="5"/>
                    <a:pt x="14" y="5"/>
                    <a:pt x="14" y="5"/>
                  </a:cubicBezTo>
                  <a:cubicBezTo>
                    <a:pt x="14" y="2"/>
                    <a:pt x="12" y="0"/>
                    <a:pt x="9" y="0"/>
                  </a:cubicBezTo>
                  <a:cubicBezTo>
                    <a:pt x="5" y="0"/>
                    <a:pt x="5" y="0"/>
                    <a:pt x="5" y="0"/>
                  </a:cubicBezTo>
                  <a:cubicBezTo>
                    <a:pt x="2" y="0"/>
                    <a:pt x="0" y="2"/>
                    <a:pt x="0" y="5"/>
                  </a:cubicBezTo>
                  <a:cubicBezTo>
                    <a:pt x="0" y="40"/>
                    <a:pt x="0" y="40"/>
                    <a:pt x="0" y="40"/>
                  </a:cubicBezTo>
                  <a:cubicBezTo>
                    <a:pt x="0" y="45"/>
                    <a:pt x="1" y="49"/>
                    <a:pt x="2" y="52"/>
                  </a:cubicBezTo>
                  <a:cubicBezTo>
                    <a:pt x="5" y="60"/>
                    <a:pt x="13" y="70"/>
                    <a:pt x="34" y="70"/>
                  </a:cubicBezTo>
                  <a:cubicBezTo>
                    <a:pt x="50" y="70"/>
                    <a:pt x="61" y="64"/>
                    <a:pt x="65" y="53"/>
                  </a:cubicBezTo>
                  <a:cubicBezTo>
                    <a:pt x="67" y="49"/>
                    <a:pt x="68" y="45"/>
                    <a:pt x="68" y="40"/>
                  </a:cubicBezTo>
                  <a:cubicBezTo>
                    <a:pt x="68" y="5"/>
                    <a:pt x="68" y="5"/>
                    <a:pt x="68" y="5"/>
                  </a:cubicBezTo>
                  <a:cubicBezTo>
                    <a:pt x="67" y="2"/>
                    <a:pt x="65" y="0"/>
                    <a:pt x="63" y="0"/>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44" name="Freeform 37"/>
            <p:cNvSpPr>
              <a:spLocks noEditPoints="1"/>
            </p:cNvSpPr>
            <p:nvPr/>
          </p:nvSpPr>
          <p:spPr bwMode="auto">
            <a:xfrm>
              <a:off x="3276602" y="4568825"/>
              <a:ext cx="214315" cy="269874"/>
            </a:xfrm>
            <a:custGeom>
              <a:avLst/>
              <a:gdLst/>
              <a:ahLst/>
              <a:cxnLst>
                <a:cxn ang="0">
                  <a:pos x="48" y="33"/>
                </a:cxn>
                <a:cxn ang="0">
                  <a:pos x="46" y="32"/>
                </a:cxn>
                <a:cxn ang="0">
                  <a:pos x="52" y="19"/>
                </a:cxn>
                <a:cxn ang="0">
                  <a:pos x="37" y="1"/>
                </a:cxn>
                <a:cxn ang="0">
                  <a:pos x="25" y="0"/>
                </a:cxn>
                <a:cxn ang="0">
                  <a:pos x="7" y="0"/>
                </a:cxn>
                <a:cxn ang="0">
                  <a:pos x="0" y="7"/>
                </a:cxn>
                <a:cxn ang="0">
                  <a:pos x="0" y="69"/>
                </a:cxn>
                <a:cxn ang="0">
                  <a:pos x="28" y="69"/>
                </a:cxn>
                <a:cxn ang="0">
                  <a:pos x="43" y="67"/>
                </a:cxn>
                <a:cxn ang="0">
                  <a:pos x="57" y="48"/>
                </a:cxn>
                <a:cxn ang="0">
                  <a:pos x="48" y="33"/>
                </a:cxn>
                <a:cxn ang="0">
                  <a:pos x="25" y="12"/>
                </a:cxn>
                <a:cxn ang="0">
                  <a:pos x="33" y="12"/>
                </a:cxn>
                <a:cxn ang="0">
                  <a:pos x="39" y="20"/>
                </a:cxn>
                <a:cxn ang="0">
                  <a:pos x="34" y="28"/>
                </a:cxn>
                <a:cxn ang="0">
                  <a:pos x="25" y="29"/>
                </a:cxn>
                <a:cxn ang="0">
                  <a:pos x="14" y="29"/>
                </a:cxn>
                <a:cxn ang="0">
                  <a:pos x="14" y="12"/>
                </a:cxn>
                <a:cxn ang="0">
                  <a:pos x="25" y="12"/>
                </a:cxn>
                <a:cxn ang="0">
                  <a:pos x="29" y="39"/>
                </a:cxn>
                <a:cxn ang="0">
                  <a:pos x="38" y="40"/>
                </a:cxn>
                <a:cxn ang="0">
                  <a:pos x="44" y="48"/>
                </a:cxn>
                <a:cxn ang="0">
                  <a:pos x="38" y="56"/>
                </a:cxn>
                <a:cxn ang="0">
                  <a:pos x="27" y="57"/>
                </a:cxn>
                <a:cxn ang="0">
                  <a:pos x="14" y="57"/>
                </a:cxn>
                <a:cxn ang="0">
                  <a:pos x="14" y="39"/>
                </a:cxn>
                <a:cxn ang="0">
                  <a:pos x="29" y="39"/>
                </a:cxn>
              </a:cxnLst>
              <a:rect l="0" t="0" r="r" b="b"/>
              <a:pathLst>
                <a:path w="57" h="69">
                  <a:moveTo>
                    <a:pt x="48" y="33"/>
                  </a:moveTo>
                  <a:cubicBezTo>
                    <a:pt x="47" y="32"/>
                    <a:pt x="47" y="32"/>
                    <a:pt x="46" y="32"/>
                  </a:cubicBezTo>
                  <a:cubicBezTo>
                    <a:pt x="50" y="29"/>
                    <a:pt x="52" y="25"/>
                    <a:pt x="52" y="19"/>
                  </a:cubicBezTo>
                  <a:cubicBezTo>
                    <a:pt x="52" y="10"/>
                    <a:pt x="47" y="4"/>
                    <a:pt x="37" y="1"/>
                  </a:cubicBezTo>
                  <a:cubicBezTo>
                    <a:pt x="33" y="0"/>
                    <a:pt x="29" y="0"/>
                    <a:pt x="25" y="0"/>
                  </a:cubicBezTo>
                  <a:cubicBezTo>
                    <a:pt x="7" y="0"/>
                    <a:pt x="7" y="0"/>
                    <a:pt x="7" y="0"/>
                  </a:cubicBezTo>
                  <a:cubicBezTo>
                    <a:pt x="3" y="0"/>
                    <a:pt x="0" y="3"/>
                    <a:pt x="0" y="7"/>
                  </a:cubicBezTo>
                  <a:cubicBezTo>
                    <a:pt x="0" y="69"/>
                    <a:pt x="0" y="69"/>
                    <a:pt x="0" y="69"/>
                  </a:cubicBezTo>
                  <a:cubicBezTo>
                    <a:pt x="28" y="69"/>
                    <a:pt x="28" y="69"/>
                    <a:pt x="28" y="69"/>
                  </a:cubicBezTo>
                  <a:cubicBezTo>
                    <a:pt x="34" y="69"/>
                    <a:pt x="39" y="68"/>
                    <a:pt x="43" y="67"/>
                  </a:cubicBezTo>
                  <a:cubicBezTo>
                    <a:pt x="52" y="63"/>
                    <a:pt x="57" y="57"/>
                    <a:pt x="57" y="48"/>
                  </a:cubicBezTo>
                  <a:cubicBezTo>
                    <a:pt x="57" y="41"/>
                    <a:pt x="54" y="36"/>
                    <a:pt x="48" y="33"/>
                  </a:cubicBezTo>
                  <a:close/>
                  <a:moveTo>
                    <a:pt x="25" y="12"/>
                  </a:moveTo>
                  <a:cubicBezTo>
                    <a:pt x="28" y="12"/>
                    <a:pt x="31" y="12"/>
                    <a:pt x="33" y="12"/>
                  </a:cubicBezTo>
                  <a:cubicBezTo>
                    <a:pt x="37" y="14"/>
                    <a:pt x="39" y="16"/>
                    <a:pt x="39" y="20"/>
                  </a:cubicBezTo>
                  <a:cubicBezTo>
                    <a:pt x="39" y="24"/>
                    <a:pt x="37" y="26"/>
                    <a:pt x="34" y="28"/>
                  </a:cubicBezTo>
                  <a:cubicBezTo>
                    <a:pt x="32" y="28"/>
                    <a:pt x="29" y="29"/>
                    <a:pt x="25" y="29"/>
                  </a:cubicBezTo>
                  <a:cubicBezTo>
                    <a:pt x="14" y="29"/>
                    <a:pt x="14" y="29"/>
                    <a:pt x="14" y="29"/>
                  </a:cubicBezTo>
                  <a:cubicBezTo>
                    <a:pt x="14" y="12"/>
                    <a:pt x="14" y="12"/>
                    <a:pt x="14" y="12"/>
                  </a:cubicBezTo>
                  <a:lnTo>
                    <a:pt x="25" y="12"/>
                  </a:lnTo>
                  <a:close/>
                  <a:moveTo>
                    <a:pt x="29" y="39"/>
                  </a:moveTo>
                  <a:cubicBezTo>
                    <a:pt x="33" y="39"/>
                    <a:pt x="36" y="40"/>
                    <a:pt x="38" y="40"/>
                  </a:cubicBezTo>
                  <a:cubicBezTo>
                    <a:pt x="42" y="42"/>
                    <a:pt x="44" y="44"/>
                    <a:pt x="44" y="48"/>
                  </a:cubicBezTo>
                  <a:cubicBezTo>
                    <a:pt x="44" y="52"/>
                    <a:pt x="42" y="54"/>
                    <a:pt x="38" y="56"/>
                  </a:cubicBezTo>
                  <a:cubicBezTo>
                    <a:pt x="35" y="57"/>
                    <a:pt x="32" y="57"/>
                    <a:pt x="27" y="57"/>
                  </a:cubicBezTo>
                  <a:cubicBezTo>
                    <a:pt x="14" y="57"/>
                    <a:pt x="14" y="57"/>
                    <a:pt x="14" y="57"/>
                  </a:cubicBezTo>
                  <a:cubicBezTo>
                    <a:pt x="14" y="39"/>
                    <a:pt x="14" y="39"/>
                    <a:pt x="14" y="39"/>
                  </a:cubicBezTo>
                  <a:lnTo>
                    <a:pt x="29" y="3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38"/>
            <p:cNvSpPr>
              <a:spLocks noEditPoints="1"/>
            </p:cNvSpPr>
            <p:nvPr/>
          </p:nvSpPr>
          <p:spPr bwMode="auto">
            <a:xfrm>
              <a:off x="5326068" y="4568826"/>
              <a:ext cx="203202" cy="269874"/>
            </a:xfrm>
            <a:custGeom>
              <a:avLst/>
              <a:gdLst/>
              <a:ahLst/>
              <a:cxnLst>
                <a:cxn ang="0">
                  <a:pos x="37" y="1"/>
                </a:cxn>
                <a:cxn ang="0">
                  <a:pos x="23" y="0"/>
                </a:cxn>
                <a:cxn ang="0">
                  <a:pos x="7" y="0"/>
                </a:cxn>
                <a:cxn ang="0">
                  <a:pos x="0" y="7"/>
                </a:cxn>
                <a:cxn ang="0">
                  <a:pos x="0" y="69"/>
                </a:cxn>
                <a:cxn ang="0">
                  <a:pos x="14" y="69"/>
                </a:cxn>
                <a:cxn ang="0">
                  <a:pos x="14" y="46"/>
                </a:cxn>
                <a:cxn ang="0">
                  <a:pos x="22" y="46"/>
                </a:cxn>
                <a:cxn ang="0">
                  <a:pos x="34" y="45"/>
                </a:cxn>
                <a:cxn ang="0">
                  <a:pos x="54" y="23"/>
                </a:cxn>
                <a:cxn ang="0">
                  <a:pos x="37" y="1"/>
                </a:cxn>
                <a:cxn ang="0">
                  <a:pos x="23" y="12"/>
                </a:cxn>
                <a:cxn ang="0">
                  <a:pos x="33" y="13"/>
                </a:cxn>
                <a:cxn ang="0">
                  <a:pos x="41" y="23"/>
                </a:cxn>
                <a:cxn ang="0">
                  <a:pos x="32" y="34"/>
                </a:cxn>
                <a:cxn ang="0">
                  <a:pos x="22" y="34"/>
                </a:cxn>
                <a:cxn ang="0">
                  <a:pos x="14" y="34"/>
                </a:cxn>
                <a:cxn ang="0">
                  <a:pos x="14" y="12"/>
                </a:cxn>
                <a:cxn ang="0">
                  <a:pos x="23" y="12"/>
                </a:cxn>
              </a:cxnLst>
              <a:rect l="0" t="0" r="r" b="b"/>
              <a:pathLst>
                <a:path w="54" h="69">
                  <a:moveTo>
                    <a:pt x="37" y="1"/>
                  </a:moveTo>
                  <a:cubicBezTo>
                    <a:pt x="33" y="0"/>
                    <a:pt x="28" y="0"/>
                    <a:pt x="23" y="0"/>
                  </a:cubicBezTo>
                  <a:cubicBezTo>
                    <a:pt x="7" y="0"/>
                    <a:pt x="7" y="0"/>
                    <a:pt x="7" y="0"/>
                  </a:cubicBezTo>
                  <a:cubicBezTo>
                    <a:pt x="3" y="0"/>
                    <a:pt x="0" y="3"/>
                    <a:pt x="0" y="7"/>
                  </a:cubicBezTo>
                  <a:cubicBezTo>
                    <a:pt x="0" y="69"/>
                    <a:pt x="0" y="69"/>
                    <a:pt x="0" y="69"/>
                  </a:cubicBezTo>
                  <a:cubicBezTo>
                    <a:pt x="14" y="69"/>
                    <a:pt x="14" y="69"/>
                    <a:pt x="14" y="69"/>
                  </a:cubicBezTo>
                  <a:cubicBezTo>
                    <a:pt x="14" y="69"/>
                    <a:pt x="14" y="49"/>
                    <a:pt x="14" y="46"/>
                  </a:cubicBezTo>
                  <a:cubicBezTo>
                    <a:pt x="16" y="46"/>
                    <a:pt x="22" y="46"/>
                    <a:pt x="22" y="46"/>
                  </a:cubicBezTo>
                  <a:cubicBezTo>
                    <a:pt x="27" y="46"/>
                    <a:pt x="31" y="46"/>
                    <a:pt x="34" y="45"/>
                  </a:cubicBezTo>
                  <a:cubicBezTo>
                    <a:pt x="47" y="43"/>
                    <a:pt x="54" y="34"/>
                    <a:pt x="54" y="23"/>
                  </a:cubicBezTo>
                  <a:cubicBezTo>
                    <a:pt x="54" y="12"/>
                    <a:pt x="48" y="4"/>
                    <a:pt x="37" y="1"/>
                  </a:cubicBezTo>
                  <a:close/>
                  <a:moveTo>
                    <a:pt x="23" y="12"/>
                  </a:moveTo>
                  <a:cubicBezTo>
                    <a:pt x="27" y="12"/>
                    <a:pt x="30" y="12"/>
                    <a:pt x="33" y="13"/>
                  </a:cubicBezTo>
                  <a:cubicBezTo>
                    <a:pt x="38" y="14"/>
                    <a:pt x="41" y="18"/>
                    <a:pt x="41" y="23"/>
                  </a:cubicBezTo>
                  <a:cubicBezTo>
                    <a:pt x="41" y="29"/>
                    <a:pt x="38" y="32"/>
                    <a:pt x="32" y="34"/>
                  </a:cubicBezTo>
                  <a:cubicBezTo>
                    <a:pt x="29" y="34"/>
                    <a:pt x="26" y="34"/>
                    <a:pt x="22" y="34"/>
                  </a:cubicBezTo>
                  <a:cubicBezTo>
                    <a:pt x="14" y="34"/>
                    <a:pt x="14" y="34"/>
                    <a:pt x="14" y="34"/>
                  </a:cubicBezTo>
                  <a:cubicBezTo>
                    <a:pt x="14" y="12"/>
                    <a:pt x="14" y="12"/>
                    <a:pt x="14" y="12"/>
                  </a:cubicBezTo>
                  <a:lnTo>
                    <a:pt x="23" y="12"/>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46" name="Freeform 39"/>
            <p:cNvSpPr>
              <a:spLocks/>
            </p:cNvSpPr>
            <p:nvPr/>
          </p:nvSpPr>
          <p:spPr bwMode="auto">
            <a:xfrm>
              <a:off x="7070725" y="4568823"/>
              <a:ext cx="266699" cy="273050"/>
            </a:xfrm>
            <a:custGeom>
              <a:avLst/>
              <a:gdLst/>
              <a:ahLst/>
              <a:cxnLst>
                <a:cxn ang="0">
                  <a:pos x="42" y="30"/>
                </a:cxn>
                <a:cxn ang="0">
                  <a:pos x="39" y="32"/>
                </a:cxn>
                <a:cxn ang="0">
                  <a:pos x="39" y="40"/>
                </a:cxn>
                <a:cxn ang="0">
                  <a:pos x="42" y="42"/>
                </a:cxn>
                <a:cxn ang="0">
                  <a:pos x="57" y="42"/>
                </a:cxn>
                <a:cxn ang="0">
                  <a:pos x="57" y="55"/>
                </a:cxn>
                <a:cxn ang="0">
                  <a:pos x="41" y="57"/>
                </a:cxn>
                <a:cxn ang="0">
                  <a:pos x="15" y="35"/>
                </a:cxn>
                <a:cxn ang="0">
                  <a:pos x="41" y="12"/>
                </a:cxn>
                <a:cxn ang="0">
                  <a:pos x="64" y="17"/>
                </a:cxn>
                <a:cxn ang="0">
                  <a:pos x="67" y="16"/>
                </a:cxn>
                <a:cxn ang="0">
                  <a:pos x="70" y="8"/>
                </a:cxn>
                <a:cxn ang="0">
                  <a:pos x="69" y="5"/>
                </a:cxn>
                <a:cxn ang="0">
                  <a:pos x="41" y="0"/>
                </a:cxn>
                <a:cxn ang="0">
                  <a:pos x="0" y="35"/>
                </a:cxn>
                <a:cxn ang="0">
                  <a:pos x="41" y="70"/>
                </a:cxn>
                <a:cxn ang="0">
                  <a:pos x="70" y="64"/>
                </a:cxn>
                <a:cxn ang="0">
                  <a:pos x="71" y="63"/>
                </a:cxn>
                <a:cxn ang="0">
                  <a:pos x="71" y="30"/>
                </a:cxn>
                <a:cxn ang="0">
                  <a:pos x="42" y="30"/>
                </a:cxn>
              </a:cxnLst>
              <a:rect l="0" t="0" r="r" b="b"/>
              <a:pathLst>
                <a:path w="71" h="70">
                  <a:moveTo>
                    <a:pt x="42" y="30"/>
                  </a:moveTo>
                  <a:cubicBezTo>
                    <a:pt x="40" y="30"/>
                    <a:pt x="39" y="31"/>
                    <a:pt x="39" y="32"/>
                  </a:cubicBezTo>
                  <a:cubicBezTo>
                    <a:pt x="39" y="40"/>
                    <a:pt x="39" y="40"/>
                    <a:pt x="39" y="40"/>
                  </a:cubicBezTo>
                  <a:cubicBezTo>
                    <a:pt x="39" y="41"/>
                    <a:pt x="40" y="42"/>
                    <a:pt x="42" y="42"/>
                  </a:cubicBezTo>
                  <a:cubicBezTo>
                    <a:pt x="42" y="42"/>
                    <a:pt x="54" y="42"/>
                    <a:pt x="57" y="42"/>
                  </a:cubicBezTo>
                  <a:cubicBezTo>
                    <a:pt x="57" y="55"/>
                    <a:pt x="57" y="55"/>
                    <a:pt x="57" y="55"/>
                  </a:cubicBezTo>
                  <a:cubicBezTo>
                    <a:pt x="53" y="56"/>
                    <a:pt x="47" y="57"/>
                    <a:pt x="41" y="57"/>
                  </a:cubicBezTo>
                  <a:cubicBezTo>
                    <a:pt x="24" y="57"/>
                    <a:pt x="15" y="49"/>
                    <a:pt x="15" y="35"/>
                  </a:cubicBezTo>
                  <a:cubicBezTo>
                    <a:pt x="15" y="21"/>
                    <a:pt x="25" y="12"/>
                    <a:pt x="41" y="12"/>
                  </a:cubicBezTo>
                  <a:cubicBezTo>
                    <a:pt x="49" y="12"/>
                    <a:pt x="57" y="14"/>
                    <a:pt x="64" y="17"/>
                  </a:cubicBezTo>
                  <a:cubicBezTo>
                    <a:pt x="66" y="18"/>
                    <a:pt x="67" y="17"/>
                    <a:pt x="67" y="16"/>
                  </a:cubicBezTo>
                  <a:cubicBezTo>
                    <a:pt x="70" y="8"/>
                    <a:pt x="70" y="8"/>
                    <a:pt x="70" y="8"/>
                  </a:cubicBezTo>
                  <a:cubicBezTo>
                    <a:pt x="70" y="7"/>
                    <a:pt x="70" y="5"/>
                    <a:pt x="69" y="5"/>
                  </a:cubicBezTo>
                  <a:cubicBezTo>
                    <a:pt x="59" y="1"/>
                    <a:pt x="50" y="0"/>
                    <a:pt x="41" y="0"/>
                  </a:cubicBezTo>
                  <a:cubicBezTo>
                    <a:pt x="16" y="0"/>
                    <a:pt x="0" y="14"/>
                    <a:pt x="0" y="35"/>
                  </a:cubicBezTo>
                  <a:cubicBezTo>
                    <a:pt x="0" y="57"/>
                    <a:pt x="16" y="70"/>
                    <a:pt x="41" y="70"/>
                  </a:cubicBezTo>
                  <a:cubicBezTo>
                    <a:pt x="51" y="70"/>
                    <a:pt x="62" y="68"/>
                    <a:pt x="70" y="64"/>
                  </a:cubicBezTo>
                  <a:cubicBezTo>
                    <a:pt x="71" y="63"/>
                    <a:pt x="71" y="63"/>
                    <a:pt x="71" y="63"/>
                  </a:cubicBezTo>
                  <a:cubicBezTo>
                    <a:pt x="71" y="30"/>
                    <a:pt x="71" y="30"/>
                    <a:pt x="71" y="30"/>
                  </a:cubicBezTo>
                  <a:lnTo>
                    <a:pt x="42" y="30"/>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grpSp>
    </p:spTree>
    <p:extLst>
      <p:ext uri="{BB962C8B-B14F-4D97-AF65-F5344CB8AC3E}">
        <p14:creationId xmlns:p14="http://schemas.microsoft.com/office/powerpoint/2010/main" val="267898128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99" r:id="rId3"/>
    <p:sldLayoutId id="2147483663" r:id="rId4"/>
    <p:sldLayoutId id="2147483664" r:id="rId5"/>
    <p:sldLayoutId id="2147483665" r:id="rId6"/>
    <p:sldLayoutId id="2147483702" r:id="rId7"/>
    <p:sldLayoutId id="2147483703" r:id="rId8"/>
    <p:sldLayoutId id="2147483666" r:id="rId9"/>
    <p:sldLayoutId id="2147483701" r:id="rId10"/>
    <p:sldLayoutId id="2147483667" r:id="rId11"/>
    <p:sldLayoutId id="2147483679" r:id="rId12"/>
    <p:sldLayoutId id="2147483680" r:id="rId13"/>
    <p:sldLayoutId id="2147483681" r:id="rId14"/>
    <p:sldLayoutId id="2147483668" r:id="rId15"/>
    <p:sldLayoutId id="2147483700" r:id="rId16"/>
    <p:sldLayoutId id="2147483683" r:id="rId17"/>
    <p:sldLayoutId id="2147483684" r:id="rId18"/>
    <p:sldLayoutId id="2147483685" r:id="rId19"/>
    <p:sldLayoutId id="2147483686" r:id="rId20"/>
    <p:sldLayoutId id="2147483687" r:id="rId21"/>
    <p:sldLayoutId id="2147483669" r:id="rId22"/>
    <p:sldLayoutId id="2147483688" r:id="rId23"/>
    <p:sldLayoutId id="2147483692" r:id="rId24"/>
    <p:sldLayoutId id="2147483689" r:id="rId25"/>
    <p:sldLayoutId id="2147483693" r:id="rId26"/>
    <p:sldLayoutId id="2147483690" r:id="rId27"/>
    <p:sldLayoutId id="2147483694" r:id="rId28"/>
    <p:sldLayoutId id="2147483691" r:id="rId29"/>
    <p:sldLayoutId id="2147483696" r:id="rId30"/>
    <p:sldLayoutId id="2147483670" r:id="rId31"/>
    <p:sldLayoutId id="2147483671" r:id="rId32"/>
  </p:sldLayoutIdLst>
  <p:timing>
    <p:tnLst>
      <p:par>
        <p:cTn id="1" dur="indefinite" restart="never" nodeType="tmRoot"/>
      </p:par>
    </p:tnLst>
  </p:timing>
  <p:hf hdr="0"/>
  <p:txStyles>
    <p:titleStyle>
      <a:lvl1pPr algn="l" defTabSz="914400" rtl="0" eaLnBrk="1" latinLnBrk="0" hangingPunct="1">
        <a:spcBef>
          <a:spcPct val="0"/>
        </a:spcBef>
        <a:buNone/>
        <a:defRPr sz="2800" b="1" kern="1200">
          <a:solidFill>
            <a:schemeClr val="tx1"/>
          </a:solidFill>
          <a:latin typeface="+mj-lt"/>
          <a:ea typeface="+mj-ea"/>
          <a:cs typeface="+mj-cs"/>
        </a:defRPr>
      </a:lvl1pPr>
    </p:titleStyle>
    <p:bodyStyle>
      <a:lvl1pPr marL="0" indent="-133200" algn="l" defTabSz="914400" rtl="0" eaLnBrk="1" latinLnBrk="0" hangingPunct="1">
        <a:lnSpc>
          <a:spcPct val="100000"/>
        </a:lnSpc>
        <a:spcBef>
          <a:spcPts val="600"/>
        </a:spcBef>
        <a:buFont typeface="Arial" pitchFamily="34" charset="0"/>
        <a:buNone/>
        <a:defRPr sz="2200" b="1" kern="1200">
          <a:solidFill>
            <a:schemeClr val="tx1"/>
          </a:solidFill>
          <a:latin typeface="+mn-lt"/>
          <a:ea typeface="+mn-ea"/>
          <a:cs typeface="+mn-cs"/>
        </a:defRPr>
      </a:lvl1pPr>
      <a:lvl2pPr marL="579438" indent="-133200" algn="l" defTabSz="625475" rtl="0" eaLnBrk="1" latinLnBrk="0" hangingPunct="1">
        <a:lnSpc>
          <a:spcPct val="100000"/>
        </a:lnSpc>
        <a:spcBef>
          <a:spcPts val="600"/>
        </a:spcBef>
        <a:buFont typeface="Arial" pitchFamily="34" charset="0"/>
        <a:buChar char="•"/>
        <a:defRPr sz="2000" b="0" kern="1200">
          <a:solidFill>
            <a:schemeClr val="tx1"/>
          </a:solidFill>
          <a:latin typeface="+mn-lt"/>
          <a:ea typeface="+mn-ea"/>
          <a:cs typeface="+mn-cs"/>
        </a:defRPr>
      </a:lvl2pPr>
      <a:lvl3pPr marL="1047750" indent="-131763" algn="l" defTabSz="914400" rtl="0" eaLnBrk="1" latinLnBrk="0" hangingPunct="1">
        <a:lnSpc>
          <a:spcPct val="100000"/>
        </a:lnSpc>
        <a:spcBef>
          <a:spcPts val="600"/>
        </a:spcBef>
        <a:buFont typeface="Arial" pitchFamily="34" charset="0"/>
        <a:buChar char="•"/>
        <a:defRPr sz="1800" b="0" kern="1200">
          <a:solidFill>
            <a:schemeClr val="tx1"/>
          </a:solidFill>
          <a:latin typeface="+mn-lt"/>
          <a:ea typeface="+mn-ea"/>
          <a:cs typeface="+mn-cs"/>
        </a:defRPr>
      </a:lvl3pPr>
      <a:lvl4pPr marL="1515600" indent="-133200" algn="l" defTabSz="914400" rtl="0" eaLnBrk="1" latinLnBrk="0" hangingPunct="1">
        <a:lnSpc>
          <a:spcPct val="100000"/>
        </a:lnSpc>
        <a:spcBef>
          <a:spcPts val="600"/>
        </a:spcBef>
        <a:buFont typeface="Arial" pitchFamily="34" charset="0"/>
        <a:buChar char="•"/>
        <a:defRPr sz="1600" b="0" kern="1200">
          <a:solidFill>
            <a:schemeClr val="tx1"/>
          </a:solidFill>
          <a:latin typeface="+mn-lt"/>
          <a:ea typeface="+mn-ea"/>
          <a:cs typeface="+mn-cs"/>
        </a:defRPr>
      </a:lvl4pPr>
      <a:lvl5pPr marL="1983600" indent="-133200" algn="l" defTabSz="914400" rtl="0" eaLnBrk="1" latinLnBrk="0" hangingPunct="1">
        <a:lnSpc>
          <a:spcPct val="100000"/>
        </a:lnSpc>
        <a:spcBef>
          <a:spcPts val="600"/>
        </a:spcBef>
        <a:buFont typeface="Arial" pitchFamily="34" charset="0"/>
        <a:buChar char="•"/>
        <a:defRPr sz="1600" b="0" kern="1200">
          <a:solidFill>
            <a:schemeClr val="tx1"/>
          </a:solidFill>
          <a:latin typeface="+mn-lt"/>
          <a:ea typeface="+mn-ea"/>
          <a:cs typeface="+mn-cs"/>
        </a:defRPr>
      </a:lvl5pPr>
      <a:lvl6pPr marL="1983600" indent="-13320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6pPr>
      <a:lvl7pPr marL="1983600" indent="-133200" algn="l" defTabSz="914400" rtl="0" eaLnBrk="1" latinLnBrk="0" hangingPunct="1">
        <a:lnSpc>
          <a:spcPct val="100000"/>
        </a:lnSpc>
        <a:spcBef>
          <a:spcPts val="600"/>
        </a:spcBef>
        <a:buFont typeface="Arial" pitchFamily="34" charset="0"/>
        <a:buChar char="•"/>
        <a:defRPr sz="1600" kern="1200" baseline="0">
          <a:solidFill>
            <a:schemeClr val="tx1"/>
          </a:solidFill>
          <a:latin typeface="+mn-lt"/>
          <a:ea typeface="+mn-ea"/>
          <a:cs typeface="+mn-cs"/>
        </a:defRPr>
      </a:lvl7pPr>
      <a:lvl8pPr marL="1983600" indent="-133200" algn="l" defTabSz="914400" rtl="0" eaLnBrk="1" latinLnBrk="0" hangingPunct="1">
        <a:lnSpc>
          <a:spcPct val="100000"/>
        </a:lnSpc>
        <a:spcBef>
          <a:spcPts val="600"/>
        </a:spcBef>
        <a:buFont typeface="Arial" pitchFamily="34" charset="0"/>
        <a:buChar char="•"/>
        <a:defRPr sz="1600" kern="1200" baseline="0">
          <a:solidFill>
            <a:schemeClr val="tx1"/>
          </a:solidFill>
          <a:latin typeface="+mn-lt"/>
          <a:ea typeface="+mn-ea"/>
          <a:cs typeface="+mn-cs"/>
        </a:defRPr>
      </a:lvl8pPr>
      <a:lvl9pPr marL="1983600" indent="-133200" algn="l" defTabSz="914400" rtl="0" eaLnBrk="1" latinLnBrk="0" hangingPunct="1">
        <a:lnSpc>
          <a:spcPct val="100000"/>
        </a:lnSpc>
        <a:spcBef>
          <a:spcPts val="600"/>
        </a:spcBef>
        <a:buFont typeface="Arial" pitchFamily="34" charset="0"/>
        <a:buChar char="•"/>
        <a:defRPr sz="1600" kern="1200" baseline="0">
          <a:solidFill>
            <a:schemeClr val="tx1"/>
          </a:solidFill>
          <a:latin typeface="+mn-lt"/>
          <a:ea typeface="+mn-ea"/>
          <a:cs typeface="+mn-cs"/>
        </a:defRPr>
      </a:lvl9pPr>
    </p:bodyStyle>
    <p:otherStyle>
      <a:defPPr>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3" Type="http://schemas.openxmlformats.org/officeDocument/2006/relationships/tags" Target="../tags/tag3.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47" Type="http://schemas.openxmlformats.org/officeDocument/2006/relationships/slideLayout" Target="../slideLayouts/slideLayout2.xml"/><Relationship Id="rId50" Type="http://schemas.openxmlformats.org/officeDocument/2006/relationships/oleObject" Target="../embeddings/oleObject2.bin"/><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41" Type="http://schemas.openxmlformats.org/officeDocument/2006/relationships/tags" Target="../tags/tag41.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tags" Target="../tags/tag45.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image" Target="../media/image3.emf"/><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4" Type="http://schemas.openxmlformats.org/officeDocument/2006/relationships/tags" Target="../tags/tag44.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48" Type="http://schemas.openxmlformats.org/officeDocument/2006/relationships/oleObject" Target="../embeddings/oleObject1.bin"/><Relationship Id="rId8" Type="http://schemas.openxmlformats.org/officeDocument/2006/relationships/tags" Target="../tags/tag8.xml"/><Relationship Id="rId51" Type="http://schemas.openxmlformats.org/officeDocument/2006/relationships/image" Target="../media/image4.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3665845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0" name="think-cell Slide" r:id="rId48" imgW="270" imgH="270" progId="TCLayout.ActiveDocument.1">
                  <p:embed/>
                </p:oleObj>
              </mc:Choice>
              <mc:Fallback>
                <p:oleObj name="think-cell Slide" r:id="rId48" imgW="270" imgH="270" progId="TCLayout.ActiveDocument.1">
                  <p:embed/>
                  <p:pic>
                    <p:nvPicPr>
                      <p:cNvPr id="0" name=""/>
                      <p:cNvPicPr/>
                      <p:nvPr/>
                    </p:nvPicPr>
                    <p:blipFill>
                      <a:blip r:embed="rId49"/>
                      <a:stretch>
                        <a:fillRect/>
                      </a:stretch>
                    </p:blipFill>
                    <p:spPr>
                      <a:xfrm>
                        <a:off x="1588" y="1588"/>
                        <a:ext cx="1587" cy="1587"/>
                      </a:xfrm>
                      <a:prstGeom prst="rect">
                        <a:avLst/>
                      </a:prstGeom>
                    </p:spPr>
                  </p:pic>
                </p:oleObj>
              </mc:Fallback>
            </mc:AlternateContent>
          </a:graphicData>
        </a:graphic>
      </p:graphicFrame>
      <p:sp>
        <p:nvSpPr>
          <p:cNvPr id="7" name="Rectangle 6"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1400">
              <a:sym typeface="+mn-lt"/>
            </a:endParaRPr>
          </a:p>
        </p:txBody>
      </p:sp>
      <p:sp>
        <p:nvSpPr>
          <p:cNvPr id="2" name="Title 1"/>
          <p:cNvSpPr>
            <a:spLocks noGrp="1"/>
          </p:cNvSpPr>
          <p:nvPr>
            <p:ph type="title"/>
          </p:nvPr>
        </p:nvSpPr>
        <p:spPr/>
        <p:txBody>
          <a:bodyPr/>
          <a:lstStyle/>
          <a:p>
            <a:r>
              <a:rPr lang="en-GB" dirty="0" smtClean="0"/>
              <a:t>Bacardi vs</a:t>
            </a:r>
            <a:r>
              <a:rPr lang="en-GB" dirty="0"/>
              <a:t>.</a:t>
            </a:r>
            <a:r>
              <a:rPr lang="en-GB" dirty="0" smtClean="0"/>
              <a:t> Competitors, in the social landscape </a:t>
            </a:r>
            <a:endParaRPr lang="en-GB" dirty="0"/>
          </a:p>
        </p:txBody>
      </p:sp>
      <p:sp>
        <p:nvSpPr>
          <p:cNvPr id="3" name="Text Placeholder 2"/>
          <p:cNvSpPr>
            <a:spLocks noGrp="1"/>
          </p:cNvSpPr>
          <p:nvPr>
            <p:ph type="body" sz="quarter" idx="13"/>
          </p:nvPr>
        </p:nvSpPr>
        <p:spPr/>
        <p:txBody>
          <a:bodyPr/>
          <a:lstStyle/>
          <a:p>
            <a:r>
              <a:rPr lang="en-GB" dirty="0" smtClean="0"/>
              <a:t>USA</a:t>
            </a:r>
            <a:endParaRPr lang="en-GB" dirty="0"/>
          </a:p>
        </p:txBody>
      </p:sp>
      <p:sp>
        <p:nvSpPr>
          <p:cNvPr id="6" name="Slide Number Placeholder 5"/>
          <p:cNvSpPr>
            <a:spLocks noGrp="1"/>
          </p:cNvSpPr>
          <p:nvPr>
            <p:ph type="sldNum" sz="quarter" idx="12"/>
          </p:nvPr>
        </p:nvSpPr>
        <p:spPr/>
        <p:txBody>
          <a:bodyPr/>
          <a:lstStyle/>
          <a:p>
            <a:fld id="{DF28FB93-0A08-4E7D-8E63-9EFA29F1E093}" type="slidenum">
              <a:rPr lang="en-GB" smtClean="0"/>
              <a:pPr/>
              <a:t>1</a:t>
            </a:fld>
            <a:endParaRPr lang="en-GB" dirty="0"/>
          </a:p>
        </p:txBody>
      </p:sp>
      <p:cxnSp>
        <p:nvCxnSpPr>
          <p:cNvPr id="91" name="Straight Connector 90"/>
          <p:cNvCxnSpPr/>
          <p:nvPr>
            <p:custDataLst>
              <p:tags r:id="rId4"/>
            </p:custDataLst>
          </p:nvPr>
        </p:nvCxnSpPr>
        <p:spPr bwMode="auto">
          <a:xfrm>
            <a:off x="657225" y="2505075"/>
            <a:ext cx="7896225" cy="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custDataLst>
              <p:tags r:id="rId5"/>
            </p:custDataLst>
          </p:nvPr>
        </p:nvCxnSpPr>
        <p:spPr bwMode="auto">
          <a:xfrm>
            <a:off x="4610100" y="1276350"/>
            <a:ext cx="0" cy="285750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10" name="Object 9"/>
          <p:cNvGraphicFramePr>
            <a:graphicFrameLocks/>
          </p:cNvGraphicFramePr>
          <p:nvPr>
            <p:custDataLst>
              <p:tags r:id="rId6"/>
            </p:custDataLst>
            <p:extLst>
              <p:ext uri="{D42A27DB-BD31-4B8C-83A1-F6EECF244321}">
                <p14:modId xmlns:p14="http://schemas.microsoft.com/office/powerpoint/2010/main" val="1138438448"/>
              </p:ext>
            </p:extLst>
          </p:nvPr>
        </p:nvGraphicFramePr>
        <p:xfrm>
          <a:off x="533401" y="1143000"/>
          <a:ext cx="8134305" cy="3095522"/>
        </p:xfrm>
        <a:graphic>
          <a:graphicData uri="http://schemas.openxmlformats.org/presentationml/2006/ole">
            <mc:AlternateContent xmlns:mc="http://schemas.openxmlformats.org/markup-compatibility/2006">
              <mc:Choice xmlns:v="urn:schemas-microsoft-com:vml" Requires="v">
                <p:oleObj spid="_x0000_s1041" name="Chart" r:id="rId50" imgW="8134305" imgH="3095522" progId="MSGraph.Chart.8">
                  <p:embed followColorScheme="full"/>
                </p:oleObj>
              </mc:Choice>
              <mc:Fallback>
                <p:oleObj name="Chart" r:id="rId50" imgW="8134305" imgH="3095522" progId="MSGraph.Chart.8">
                  <p:embed followColorScheme="full"/>
                  <p:pic>
                    <p:nvPicPr>
                      <p:cNvPr id="0" name=""/>
                      <p:cNvPicPr/>
                      <p:nvPr/>
                    </p:nvPicPr>
                    <p:blipFill>
                      <a:blip r:embed="rId51"/>
                      <a:stretch>
                        <a:fillRect/>
                      </a:stretch>
                    </p:blipFill>
                    <p:spPr>
                      <a:xfrm>
                        <a:off x="533401" y="1143000"/>
                        <a:ext cx="8134305" cy="3095522"/>
                      </a:xfrm>
                      <a:prstGeom prst="rect">
                        <a:avLst/>
                      </a:prstGeom>
                    </p:spPr>
                  </p:pic>
                </p:oleObj>
              </mc:Fallback>
            </mc:AlternateContent>
          </a:graphicData>
        </a:graphic>
      </p:graphicFrame>
      <p:cxnSp>
        <p:nvCxnSpPr>
          <p:cNvPr id="192" name="Straight Connector 191"/>
          <p:cNvCxnSpPr/>
          <p:nvPr>
            <p:custDataLst>
              <p:tags r:id="rId7"/>
            </p:custDataLst>
          </p:nvPr>
        </p:nvCxnSpPr>
        <p:spPr bwMode="auto">
          <a:xfrm flipV="1">
            <a:off x="5149850" y="2481263"/>
            <a:ext cx="33338" cy="49213"/>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0" name="Straight Connector 189"/>
          <p:cNvCxnSpPr/>
          <p:nvPr>
            <p:custDataLst>
              <p:tags r:id="rId8"/>
            </p:custDataLst>
          </p:nvPr>
        </p:nvCxnSpPr>
        <p:spPr bwMode="auto">
          <a:xfrm flipV="1">
            <a:off x="5737225" y="2928938"/>
            <a:ext cx="12700" cy="30163"/>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3" name="Straight Connector 272"/>
          <p:cNvCxnSpPr/>
          <p:nvPr>
            <p:custDataLst>
              <p:tags r:id="rId9"/>
            </p:custDataLst>
          </p:nvPr>
        </p:nvCxnSpPr>
        <p:spPr bwMode="auto">
          <a:xfrm flipV="1">
            <a:off x="3073400" y="2495550"/>
            <a:ext cx="784225" cy="26352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custDataLst>
              <p:tags r:id="rId10"/>
            </p:custDataLst>
          </p:nvPr>
        </p:nvCxnSpPr>
        <p:spPr bwMode="auto">
          <a:xfrm>
            <a:off x="4652963" y="2089150"/>
            <a:ext cx="0" cy="3492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custDataLst>
              <p:tags r:id="rId11"/>
            </p:custDataLst>
          </p:nvPr>
        </p:nvCxnSpPr>
        <p:spPr bwMode="auto">
          <a:xfrm flipH="1">
            <a:off x="7102475" y="2900363"/>
            <a:ext cx="193675" cy="100013"/>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4" name="Straight Connector 193"/>
          <p:cNvCxnSpPr/>
          <p:nvPr>
            <p:custDataLst>
              <p:tags r:id="rId12"/>
            </p:custDataLst>
          </p:nvPr>
        </p:nvCxnSpPr>
        <p:spPr bwMode="auto">
          <a:xfrm flipH="1">
            <a:off x="5646738" y="2222500"/>
            <a:ext cx="12700" cy="84138"/>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p:nvPr>
            <p:custDataLst>
              <p:tags r:id="rId13"/>
            </p:custDataLst>
          </p:nvPr>
        </p:nvCxnSpPr>
        <p:spPr bwMode="auto">
          <a:xfrm>
            <a:off x="5348288" y="1927225"/>
            <a:ext cx="0" cy="14922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custDataLst>
              <p:tags r:id="rId14"/>
            </p:custDataLst>
          </p:nvPr>
        </p:nvCxnSpPr>
        <p:spPr bwMode="auto">
          <a:xfrm flipH="1" flipV="1">
            <a:off x="5853113" y="2540000"/>
            <a:ext cx="180975" cy="65088"/>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custDataLst>
              <p:tags r:id="rId15"/>
            </p:custDataLst>
          </p:nvPr>
        </p:nvCxnSpPr>
        <p:spPr bwMode="auto">
          <a:xfrm flipH="1">
            <a:off x="5688013" y="2049463"/>
            <a:ext cx="644525" cy="280988"/>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3" name="Straight Connector 192"/>
          <p:cNvCxnSpPr/>
          <p:nvPr>
            <p:custDataLst>
              <p:tags r:id="rId16"/>
            </p:custDataLst>
          </p:nvPr>
        </p:nvCxnSpPr>
        <p:spPr bwMode="auto">
          <a:xfrm flipH="1">
            <a:off x="5883275" y="2230438"/>
            <a:ext cx="304800" cy="762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useBgFill="1">
        <p:nvSpPr>
          <p:cNvPr id="40" name="Rectangle 39"/>
          <p:cNvSpPr/>
          <p:nvPr>
            <p:custDataLst>
              <p:tags r:id="rId17"/>
            </p:custDataLst>
          </p:nvPr>
        </p:nvSpPr>
        <p:spPr bwMode="gray">
          <a:xfrm>
            <a:off x="4592638" y="2530475"/>
            <a:ext cx="1012825" cy="152400"/>
          </a:xfrm>
          <a:prstGeom prst="rect">
            <a:avLst/>
          </a:prstGeom>
          <a:ln w="0" cap="flat" cmpd="sng" algn="ctr">
            <a:noFill/>
            <a:prstDash val="solid"/>
          </a:ln>
          <a:effectLst/>
          <a:extLs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E8BC85B2-EE94-4FA8-9085-AE65350DB15B}" type="datetime'''''''''''c''ap''t''a''i''n''''_''''''m''''''org''''a''n'''">
              <a:rPr lang="en-US" sz="1000" b="1">
                <a:solidFill>
                  <a:schemeClr val="tx1"/>
                </a:solidFill>
              </a:rPr>
              <a:pPr/>
              <a:t>captain_morgan</a:t>
            </a:fld>
            <a:endParaRPr lang="en-GB" sz="1000" b="1" dirty="0">
              <a:solidFill>
                <a:schemeClr val="tx1"/>
              </a:solidFill>
              <a:sym typeface="+mn-lt"/>
            </a:endParaRPr>
          </a:p>
        </p:txBody>
      </p:sp>
      <p:sp>
        <p:nvSpPr>
          <p:cNvPr id="39" name="Rectangle 38"/>
          <p:cNvSpPr/>
          <p:nvPr>
            <p:custDataLst>
              <p:tags r:id="rId18"/>
            </p:custDataLst>
          </p:nvPr>
        </p:nvSpPr>
        <p:spPr bwMode="gray">
          <a:xfrm>
            <a:off x="5972175" y="3254375"/>
            <a:ext cx="714375" cy="152400"/>
          </a:xfrm>
          <a:prstGeom prst="rect">
            <a:avLst/>
          </a:prstGeom>
          <a:noFill/>
          <a:ln w="0" cap="flat" cmpd="sng" algn="ctr">
            <a:noFill/>
            <a:prstDash val="soli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880D15B8-E813-44E8-A04A-D16FBBB50850}" type="datetime's''''''a''i''l''''''''''''o''''r''_''''j''''''e''r''''''r''y'">
              <a:rPr lang="en-US" sz="1000" b="1">
                <a:solidFill>
                  <a:schemeClr val="tx1"/>
                </a:solidFill>
              </a:rPr>
              <a:pPr/>
              <a:t>sailor_jerry</a:t>
            </a:fld>
            <a:endParaRPr lang="en-GB" sz="1000" b="1" dirty="0">
              <a:solidFill>
                <a:schemeClr val="tx1"/>
              </a:solidFill>
              <a:sym typeface="+mn-lt"/>
            </a:endParaRPr>
          </a:p>
        </p:txBody>
      </p:sp>
      <p:sp>
        <p:nvSpPr>
          <p:cNvPr id="38" name="Rectangle 37"/>
          <p:cNvSpPr/>
          <p:nvPr>
            <p:custDataLst>
              <p:tags r:id="rId19"/>
            </p:custDataLst>
          </p:nvPr>
        </p:nvSpPr>
        <p:spPr bwMode="gray">
          <a:xfrm>
            <a:off x="2787650" y="3843338"/>
            <a:ext cx="442913" cy="152400"/>
          </a:xfrm>
          <a:prstGeom prst="rect">
            <a:avLst/>
          </a:prstGeom>
          <a:noFill/>
          <a:ln w="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571D73E0-7826-45EB-B010-D5888356F3C3}" type="datetime'm''''''''al''''''''i''''''''''''b''''u'''''''">
              <a:rPr lang="en-US" sz="1000" b="1">
                <a:solidFill>
                  <a:schemeClr val="tx1"/>
                </a:solidFill>
              </a:rPr>
              <a:pPr/>
              <a:t>malibu</a:t>
            </a:fld>
            <a:endParaRPr lang="en-GB" sz="1000" b="1" dirty="0">
              <a:solidFill>
                <a:schemeClr val="tx1"/>
              </a:solidFill>
              <a:sym typeface="+mn-lt"/>
            </a:endParaRPr>
          </a:p>
        </p:txBody>
      </p:sp>
      <p:sp>
        <p:nvSpPr>
          <p:cNvPr id="37" name="Rectangle 36"/>
          <p:cNvSpPr/>
          <p:nvPr>
            <p:custDataLst>
              <p:tags r:id="rId20"/>
            </p:custDataLst>
          </p:nvPr>
        </p:nvSpPr>
        <p:spPr bwMode="gray">
          <a:xfrm>
            <a:off x="5313363" y="2959100"/>
            <a:ext cx="784225" cy="152400"/>
          </a:xfrm>
          <a:prstGeom prst="rect">
            <a:avLst/>
          </a:prstGeom>
          <a:noFill/>
          <a:ln w="0" cap="flat" cmpd="sng" algn="ctr">
            <a:noFill/>
            <a:prstDash val="soli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4414823F-F8D9-43A5-BF6A-BA090CDC3F00}" type="datetime'j''a''''''''''''c''k_''''dan''''''ie''l''''''s'">
              <a:rPr lang="en-US" sz="1000" b="1">
                <a:solidFill>
                  <a:schemeClr val="tx1"/>
                </a:solidFill>
              </a:rPr>
              <a:pPr/>
              <a:t>jack_daniels</a:t>
            </a:fld>
            <a:endParaRPr lang="en-GB" sz="1000" b="1" dirty="0">
              <a:solidFill>
                <a:schemeClr val="tx1"/>
              </a:solidFill>
              <a:sym typeface="+mn-lt"/>
            </a:endParaRPr>
          </a:p>
        </p:txBody>
      </p:sp>
      <p:sp>
        <p:nvSpPr>
          <p:cNvPr id="36" name="Rectangle 35"/>
          <p:cNvSpPr/>
          <p:nvPr>
            <p:custDataLst>
              <p:tags r:id="rId21"/>
            </p:custDataLst>
          </p:nvPr>
        </p:nvSpPr>
        <p:spPr bwMode="gray">
          <a:xfrm>
            <a:off x="7058025" y="2747963"/>
            <a:ext cx="771525" cy="152400"/>
          </a:xfrm>
          <a:prstGeom prst="rect">
            <a:avLst/>
          </a:prstGeom>
          <a:noFill/>
          <a:ln w="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t"/>
          <a:lstStyle/>
          <a:p>
            <a:pPr>
              <a:spcBef>
                <a:spcPct val="0"/>
              </a:spcBef>
              <a:spcAft>
                <a:spcPct val="0"/>
              </a:spcAft>
            </a:pPr>
            <a:fld id="{EFEF7E7A-AC68-4C72-9FBA-CD1BB709D582}" type="datetime'''''jo''''s''''''e_''''cu''''''''''''''''''e''rv''''''''o'''">
              <a:rPr lang="en-US" sz="1000" b="1">
                <a:solidFill>
                  <a:schemeClr val="tx1"/>
                </a:solidFill>
              </a:rPr>
              <a:pPr/>
              <a:t>jose_cuervo</a:t>
            </a:fld>
            <a:endParaRPr lang="en-GB" sz="1000" b="1" dirty="0">
              <a:solidFill>
                <a:schemeClr val="tx1"/>
              </a:solidFill>
              <a:sym typeface="+mn-lt"/>
            </a:endParaRPr>
          </a:p>
        </p:txBody>
      </p:sp>
      <p:sp useBgFill="1">
        <p:nvSpPr>
          <p:cNvPr id="35" name="Rectangle 34"/>
          <p:cNvSpPr/>
          <p:nvPr>
            <p:custDataLst>
              <p:tags r:id="rId22"/>
            </p:custDataLst>
          </p:nvPr>
        </p:nvSpPr>
        <p:spPr bwMode="gray">
          <a:xfrm>
            <a:off x="4235450" y="1795463"/>
            <a:ext cx="542925" cy="152400"/>
          </a:xfrm>
          <a:prstGeom prst="rect">
            <a:avLst/>
          </a:prstGeom>
          <a:ln w="0" cap="flat" cmpd="sng" algn="ctr">
            <a:noFill/>
            <a:prstDash val="solid"/>
          </a:ln>
          <a:effectLst/>
          <a:extLs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02CDA6F9-7F47-4D63-831B-D10A979D5620}" type="datetime'''s''''mir''nof''f'''''''''''''''''''''''''''''''''">
              <a:rPr lang="en-US" sz="1000" b="1">
                <a:solidFill>
                  <a:schemeClr val="tx1"/>
                </a:solidFill>
              </a:rPr>
              <a:pPr>
                <a:spcBef>
                  <a:spcPct val="0"/>
                </a:spcBef>
                <a:spcAft>
                  <a:spcPct val="0"/>
                </a:spcAft>
              </a:pPr>
              <a:t>smirnoff</a:t>
            </a:fld>
            <a:endParaRPr lang="en-GB" sz="1000" b="1" dirty="0">
              <a:solidFill>
                <a:schemeClr val="tx1"/>
              </a:solidFill>
              <a:sym typeface="+mn-lt"/>
            </a:endParaRPr>
          </a:p>
        </p:txBody>
      </p:sp>
      <p:sp>
        <p:nvSpPr>
          <p:cNvPr id="34" name="Rectangle 33"/>
          <p:cNvSpPr/>
          <p:nvPr>
            <p:custDataLst>
              <p:tags r:id="rId23"/>
            </p:custDataLst>
          </p:nvPr>
        </p:nvSpPr>
        <p:spPr bwMode="gray">
          <a:xfrm>
            <a:off x="6330950" y="2297113"/>
            <a:ext cx="379413" cy="122238"/>
          </a:xfrm>
          <a:prstGeom prst="rect">
            <a:avLst/>
          </a:prstGeom>
          <a:noFill/>
          <a:ln w="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ctr"/>
          <a:lstStyle/>
          <a:p>
            <a:pPr>
              <a:spcBef>
                <a:spcPct val="0"/>
              </a:spcBef>
              <a:spcAft>
                <a:spcPct val="0"/>
              </a:spcAft>
            </a:pPr>
            <a:fld id="{2D1E2C39-6FD5-4775-BB70-202E218DC650}" type="datetime'''s''''p''i''''''''''''r''''''i''''''''''''''t''''u''''''al'">
              <a:rPr lang="en-US" sz="800">
                <a:solidFill>
                  <a:schemeClr val="tx1"/>
                </a:solidFill>
              </a:rPr>
              <a:pPr/>
              <a:t>spiritual</a:t>
            </a:fld>
            <a:endParaRPr lang="en-GB" sz="800">
              <a:solidFill>
                <a:schemeClr val="tx1"/>
              </a:solidFill>
              <a:sym typeface="+mn-lt"/>
            </a:endParaRPr>
          </a:p>
        </p:txBody>
      </p:sp>
      <p:sp useBgFill="1">
        <p:nvSpPr>
          <p:cNvPr id="33" name="Rectangle 32"/>
          <p:cNvSpPr/>
          <p:nvPr>
            <p:custDataLst>
              <p:tags r:id="rId24"/>
            </p:custDataLst>
          </p:nvPr>
        </p:nvSpPr>
        <p:spPr bwMode="gray">
          <a:xfrm>
            <a:off x="6340475" y="2430463"/>
            <a:ext cx="550863" cy="122238"/>
          </a:xfrm>
          <a:prstGeom prst="rect">
            <a:avLst/>
          </a:prstGeom>
          <a:ln w="0" cap="flat" cmpd="sng" algn="ctr">
            <a:noFill/>
            <a:prstDash val="solid"/>
          </a:ln>
          <a:effectLst/>
          <a:extLs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ctr"/>
          <a:lstStyle/>
          <a:p>
            <a:pPr>
              <a:spcBef>
                <a:spcPct val="0"/>
              </a:spcBef>
              <a:spcAft>
                <a:spcPct val="0"/>
              </a:spcAft>
            </a:pPr>
            <a:fld id="{FC9B5792-9199-4FFE-9C0C-86AEA9681720}" type="datetime'r''''''''''e''s''''''po''n''''''''''s''''''i''''b''''''''''le'">
              <a:rPr lang="en-US" sz="800">
                <a:solidFill>
                  <a:schemeClr val="tx1"/>
                </a:solidFill>
              </a:rPr>
              <a:pPr/>
              <a:t>responsible</a:t>
            </a:fld>
            <a:endParaRPr lang="en-GB" sz="800">
              <a:solidFill>
                <a:schemeClr val="tx1"/>
              </a:solidFill>
              <a:sym typeface="+mn-lt"/>
            </a:endParaRPr>
          </a:p>
        </p:txBody>
      </p:sp>
      <p:sp>
        <p:nvSpPr>
          <p:cNvPr id="11" name="Rectangle 10"/>
          <p:cNvSpPr/>
          <p:nvPr>
            <p:custDataLst>
              <p:tags r:id="rId25"/>
            </p:custDataLst>
          </p:nvPr>
        </p:nvSpPr>
        <p:spPr bwMode="gray">
          <a:xfrm>
            <a:off x="6188075" y="2128838"/>
            <a:ext cx="323850" cy="122238"/>
          </a:xfrm>
          <a:prstGeom prst="rect">
            <a:avLst/>
          </a:prstGeom>
          <a:noFill/>
          <a:ln w="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ctr"/>
          <a:lstStyle/>
          <a:p>
            <a:pPr>
              <a:spcBef>
                <a:spcPct val="0"/>
              </a:spcBef>
              <a:spcAft>
                <a:spcPct val="0"/>
              </a:spcAft>
            </a:pPr>
            <a:fld id="{50E9F6EC-36C7-49D1-9A23-EDA4ED606494}" type="datetime'q''u''''''''a''''''l''i''t''''''''''''''''''''''''''''''y'">
              <a:rPr lang="en-US" sz="800">
                <a:solidFill>
                  <a:schemeClr val="tx1"/>
                </a:solidFill>
                <a:sym typeface="+mn-lt"/>
              </a:rPr>
              <a:pPr>
                <a:spcBef>
                  <a:spcPct val="0"/>
                </a:spcBef>
                <a:spcAft>
                  <a:spcPct val="0"/>
                </a:spcAft>
              </a:pPr>
              <a:t>quality</a:t>
            </a:fld>
            <a:endParaRPr lang="en-GB" sz="800" dirty="0">
              <a:solidFill>
                <a:schemeClr val="tx1"/>
              </a:solidFill>
              <a:sym typeface="+mn-lt"/>
            </a:endParaRPr>
          </a:p>
        </p:txBody>
      </p:sp>
      <p:sp>
        <p:nvSpPr>
          <p:cNvPr id="19" name="Rectangle 18"/>
          <p:cNvSpPr/>
          <p:nvPr>
            <p:custDataLst>
              <p:tags r:id="rId26"/>
            </p:custDataLst>
          </p:nvPr>
        </p:nvSpPr>
        <p:spPr bwMode="gray">
          <a:xfrm>
            <a:off x="3768725" y="3087688"/>
            <a:ext cx="307975" cy="122238"/>
          </a:xfrm>
          <a:prstGeom prst="rect">
            <a:avLst/>
          </a:prstGeom>
          <a:noFill/>
          <a:ln w="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ctr"/>
          <a:lstStyle/>
          <a:p>
            <a:pPr>
              <a:spcBef>
                <a:spcPct val="0"/>
              </a:spcBef>
              <a:spcAft>
                <a:spcPct val="0"/>
              </a:spcAft>
            </a:pPr>
            <a:fld id="{21B8077B-2BD7-4523-92CB-E0FC14A3A284}" type="datetime'''''''yo''''''''''''''un''''''''''''g'''''''''''''''''''''''''">
              <a:rPr lang="en-US" sz="800">
                <a:solidFill>
                  <a:schemeClr val="tx1"/>
                </a:solidFill>
                <a:sym typeface="+mn-lt"/>
              </a:rPr>
              <a:pPr>
                <a:spcBef>
                  <a:spcPct val="0"/>
                </a:spcBef>
                <a:spcAft>
                  <a:spcPct val="0"/>
                </a:spcAft>
              </a:pPr>
              <a:t>young</a:t>
            </a:fld>
            <a:endParaRPr lang="en-GB" sz="800" dirty="0">
              <a:solidFill>
                <a:schemeClr val="tx1"/>
              </a:solidFill>
              <a:sym typeface="+mn-lt"/>
            </a:endParaRPr>
          </a:p>
        </p:txBody>
      </p:sp>
      <p:sp>
        <p:nvSpPr>
          <p:cNvPr id="18" name="Rectangle 17"/>
          <p:cNvSpPr/>
          <p:nvPr>
            <p:custDataLst>
              <p:tags r:id="rId27"/>
            </p:custDataLst>
          </p:nvPr>
        </p:nvSpPr>
        <p:spPr bwMode="gray">
          <a:xfrm>
            <a:off x="7197725" y="3106738"/>
            <a:ext cx="273050" cy="122238"/>
          </a:xfrm>
          <a:prstGeom prst="rect">
            <a:avLst/>
          </a:prstGeom>
          <a:noFill/>
          <a:ln w="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ctr"/>
          <a:lstStyle/>
          <a:p>
            <a:pPr>
              <a:spcBef>
                <a:spcPct val="0"/>
              </a:spcBef>
              <a:spcAft>
                <a:spcPct val="0"/>
              </a:spcAft>
            </a:pPr>
            <a:fld id="{7793167C-B548-4FF0-94D9-1C5834ECF63E}" type="datetime'''''''''''''''''''''''n''''o''''''''v''''''''el'''''''''''''">
              <a:rPr lang="en-US" sz="800">
                <a:solidFill>
                  <a:schemeClr val="tx1"/>
                </a:solidFill>
                <a:sym typeface="+mn-lt"/>
              </a:rPr>
              <a:pPr>
                <a:spcBef>
                  <a:spcPct val="0"/>
                </a:spcBef>
                <a:spcAft>
                  <a:spcPct val="0"/>
                </a:spcAft>
              </a:pPr>
              <a:t>novel</a:t>
            </a:fld>
            <a:endParaRPr lang="en-GB" sz="800">
              <a:solidFill>
                <a:schemeClr val="tx1"/>
              </a:solidFill>
              <a:sym typeface="+mn-lt"/>
            </a:endParaRPr>
          </a:p>
        </p:txBody>
      </p:sp>
      <p:sp>
        <p:nvSpPr>
          <p:cNvPr id="17" name="Rectangle 16"/>
          <p:cNvSpPr/>
          <p:nvPr>
            <p:custDataLst>
              <p:tags r:id="rId28"/>
            </p:custDataLst>
          </p:nvPr>
        </p:nvSpPr>
        <p:spPr bwMode="gray">
          <a:xfrm>
            <a:off x="6161088" y="1927225"/>
            <a:ext cx="625475" cy="122238"/>
          </a:xfrm>
          <a:prstGeom prst="rect">
            <a:avLst/>
          </a:prstGeom>
          <a:noFill/>
          <a:ln w="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t"/>
          <a:lstStyle/>
          <a:p>
            <a:pPr>
              <a:spcBef>
                <a:spcPct val="0"/>
              </a:spcBef>
              <a:spcAft>
                <a:spcPct val="0"/>
              </a:spcAft>
            </a:pPr>
            <a:fld id="{53FFDE6A-9EFB-4730-8667-4D0CB25164A7}" type="datetime'''so''''p''''hi''''''s''''t''''''''ic''a''''''''''''te''d'">
              <a:rPr lang="en-US" sz="800">
                <a:solidFill>
                  <a:schemeClr val="tx1"/>
                </a:solidFill>
                <a:sym typeface="+mn-lt"/>
              </a:rPr>
              <a:pPr>
                <a:spcBef>
                  <a:spcPct val="0"/>
                </a:spcBef>
                <a:spcAft>
                  <a:spcPct val="0"/>
                </a:spcAft>
              </a:pPr>
              <a:t>sophisticated</a:t>
            </a:fld>
            <a:endParaRPr lang="en-GB" sz="800" dirty="0">
              <a:solidFill>
                <a:schemeClr val="tx1"/>
              </a:solidFill>
              <a:sym typeface="+mn-lt"/>
            </a:endParaRPr>
          </a:p>
        </p:txBody>
      </p:sp>
      <p:sp>
        <p:nvSpPr>
          <p:cNvPr id="13" name="Rectangle 12"/>
          <p:cNvSpPr/>
          <p:nvPr>
            <p:custDataLst>
              <p:tags r:id="rId29"/>
            </p:custDataLst>
          </p:nvPr>
        </p:nvSpPr>
        <p:spPr bwMode="gray">
          <a:xfrm>
            <a:off x="7802563" y="3654425"/>
            <a:ext cx="444500" cy="122238"/>
          </a:xfrm>
          <a:prstGeom prst="rect">
            <a:avLst/>
          </a:prstGeom>
          <a:noFill/>
          <a:ln w="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ctr"/>
          <a:lstStyle/>
          <a:p>
            <a:pPr>
              <a:spcBef>
                <a:spcPct val="0"/>
              </a:spcBef>
              <a:spcAft>
                <a:spcPct val="0"/>
              </a:spcAft>
            </a:pPr>
            <a:fld id="{C98A7456-69DA-4A2F-BC6F-7B061778DDC2}" type="datetime'''a''''''ut''h''''''''''''''e''''''n''''''t''''i''c'''''">
              <a:rPr lang="en-US" sz="800">
                <a:solidFill>
                  <a:schemeClr val="tx1"/>
                </a:solidFill>
                <a:sym typeface="+mn-lt"/>
              </a:rPr>
              <a:pPr>
                <a:spcBef>
                  <a:spcPct val="0"/>
                </a:spcBef>
                <a:spcAft>
                  <a:spcPct val="0"/>
                </a:spcAft>
              </a:pPr>
              <a:t>authentic</a:t>
            </a:fld>
            <a:endParaRPr lang="en-GB" sz="800">
              <a:solidFill>
                <a:schemeClr val="tx1"/>
              </a:solidFill>
              <a:sym typeface="+mn-lt"/>
            </a:endParaRPr>
          </a:p>
        </p:txBody>
      </p:sp>
      <p:sp>
        <p:nvSpPr>
          <p:cNvPr id="32" name="Rectangle 31"/>
          <p:cNvSpPr/>
          <p:nvPr>
            <p:custDataLst>
              <p:tags r:id="rId30"/>
            </p:custDataLst>
          </p:nvPr>
        </p:nvSpPr>
        <p:spPr bwMode="gray">
          <a:xfrm>
            <a:off x="4864100" y="2754313"/>
            <a:ext cx="368300" cy="122238"/>
          </a:xfrm>
          <a:prstGeom prst="rect">
            <a:avLst/>
          </a:prstGeom>
          <a:noFill/>
          <a:ln w="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ctr"/>
          <a:lstStyle/>
          <a:p>
            <a:pPr>
              <a:spcBef>
                <a:spcPct val="0"/>
              </a:spcBef>
              <a:spcAft>
                <a:spcPct val="0"/>
              </a:spcAft>
            </a:pPr>
            <a:fld id="{A9FB5D30-A5B9-41C0-8EE0-62FA60295C06}" type="datetime'''''p''o''l''''''''''''''''''iti''''ca''''''''''''''''''''''l'">
              <a:rPr lang="en-US" sz="800">
                <a:solidFill>
                  <a:schemeClr val="tx1"/>
                </a:solidFill>
              </a:rPr>
              <a:pPr/>
              <a:t>political</a:t>
            </a:fld>
            <a:endParaRPr lang="en-GB" sz="800">
              <a:solidFill>
                <a:schemeClr val="tx1"/>
              </a:solidFill>
              <a:sym typeface="+mn-lt"/>
            </a:endParaRPr>
          </a:p>
        </p:txBody>
      </p:sp>
      <p:sp>
        <p:nvSpPr>
          <p:cNvPr id="12" name="Rectangle 11"/>
          <p:cNvSpPr/>
          <p:nvPr>
            <p:custDataLst>
              <p:tags r:id="rId31"/>
            </p:custDataLst>
          </p:nvPr>
        </p:nvSpPr>
        <p:spPr bwMode="gray">
          <a:xfrm>
            <a:off x="6488113" y="2747963"/>
            <a:ext cx="393700" cy="122238"/>
          </a:xfrm>
          <a:prstGeom prst="rect">
            <a:avLst/>
          </a:prstGeom>
          <a:noFill/>
          <a:ln w="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ctr"/>
          <a:lstStyle/>
          <a:p>
            <a:pPr>
              <a:spcBef>
                <a:spcPct val="0"/>
              </a:spcBef>
              <a:spcAft>
                <a:spcPct val="0"/>
              </a:spcAft>
            </a:pPr>
            <a:fld id="{67A23129-D270-4EB0-B85C-67CAB813D77E}" type="datetime'''ge''''''n''''''''''u''''''''i''''''''''''''''''''''''n''e'''">
              <a:rPr lang="en-US" sz="800">
                <a:solidFill>
                  <a:schemeClr val="tx1"/>
                </a:solidFill>
                <a:sym typeface="+mn-lt"/>
              </a:rPr>
              <a:pPr/>
              <a:t>genuine</a:t>
            </a:fld>
            <a:endParaRPr lang="en-GB" sz="800">
              <a:solidFill>
                <a:schemeClr val="tx1"/>
              </a:solidFill>
              <a:sym typeface="+mn-lt"/>
            </a:endParaRPr>
          </a:p>
        </p:txBody>
      </p:sp>
      <p:sp>
        <p:nvSpPr>
          <p:cNvPr id="9" name="Rectangle 8"/>
          <p:cNvSpPr/>
          <p:nvPr>
            <p:custDataLst>
              <p:tags r:id="rId32"/>
            </p:custDataLst>
          </p:nvPr>
        </p:nvSpPr>
        <p:spPr bwMode="auto">
          <a:xfrm flipV="1">
            <a:off x="298450" y="2114550"/>
            <a:ext cx="212725" cy="1182688"/>
          </a:xfrm>
          <a:prstGeom prst="rect">
            <a:avLst/>
          </a:prstGeom>
          <a:noFill/>
          <a:ln w="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b"/>
          <a:lstStyle/>
          <a:p>
            <a:pPr algn="ctr">
              <a:spcBef>
                <a:spcPct val="0"/>
              </a:spcBef>
              <a:spcAft>
                <a:spcPct val="0"/>
              </a:spcAft>
            </a:pPr>
            <a:r>
              <a:rPr lang="en-US" sz="1400" dirty="0" smtClean="0">
                <a:solidFill>
                  <a:schemeClr val="tx1"/>
                </a:solidFill>
              </a:rPr>
              <a:t>Self perception</a:t>
            </a:r>
            <a:endParaRPr lang="en-GB" sz="1400" dirty="0">
              <a:solidFill>
                <a:schemeClr val="tx1"/>
              </a:solidFill>
              <a:sym typeface="+mn-lt"/>
            </a:endParaRPr>
          </a:p>
        </p:txBody>
      </p:sp>
      <p:sp>
        <p:nvSpPr>
          <p:cNvPr id="8" name="Rectangle 7"/>
          <p:cNvSpPr/>
          <p:nvPr>
            <p:custDataLst>
              <p:tags r:id="rId33"/>
            </p:custDataLst>
          </p:nvPr>
        </p:nvSpPr>
        <p:spPr bwMode="auto">
          <a:xfrm>
            <a:off x="4083050" y="4279900"/>
            <a:ext cx="1044575" cy="212725"/>
          </a:xfrm>
          <a:prstGeom prst="rect">
            <a:avLst/>
          </a:prstGeom>
          <a:noFill/>
          <a:ln w="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spcBef>
                <a:spcPct val="0"/>
              </a:spcBef>
              <a:spcAft>
                <a:spcPct val="0"/>
              </a:spcAft>
            </a:pPr>
            <a:r>
              <a:rPr lang="en-US" sz="1400" dirty="0" smtClean="0">
                <a:solidFill>
                  <a:schemeClr val="tx1"/>
                </a:solidFill>
              </a:rPr>
              <a:t>State of Mind</a:t>
            </a:r>
            <a:endParaRPr lang="en-GB" sz="1400" dirty="0">
              <a:solidFill>
                <a:schemeClr val="tx1"/>
              </a:solidFill>
              <a:sym typeface="+mn-lt"/>
            </a:endParaRPr>
          </a:p>
        </p:txBody>
      </p:sp>
      <p:sp>
        <p:nvSpPr>
          <p:cNvPr id="41" name="Rectangle 40"/>
          <p:cNvSpPr/>
          <p:nvPr>
            <p:custDataLst>
              <p:tags r:id="rId34"/>
            </p:custDataLst>
          </p:nvPr>
        </p:nvSpPr>
        <p:spPr bwMode="gray">
          <a:xfrm>
            <a:off x="2605088" y="2759075"/>
            <a:ext cx="484188" cy="152400"/>
          </a:xfrm>
          <a:prstGeom prst="rect">
            <a:avLst/>
          </a:prstGeom>
          <a:noFill/>
          <a:ln w="0" cap="flat" cmpd="sng" algn="ctr">
            <a:noFill/>
            <a:prstDash val="soli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t"/>
          <a:lstStyle/>
          <a:p>
            <a:pPr>
              <a:spcBef>
                <a:spcPct val="0"/>
              </a:spcBef>
              <a:spcAft>
                <a:spcPct val="0"/>
              </a:spcAft>
            </a:pPr>
            <a:fld id="{5F5FA7EB-B06C-4A9B-80AA-2881511B68C3}" type="datetime'''''''ba''''''c''''''ard''''''''''''''''''''''''i'''''''''''''">
              <a:rPr lang="en-US" sz="1000" b="1">
                <a:solidFill>
                  <a:schemeClr val="tx1"/>
                </a:solidFill>
              </a:rPr>
              <a:pPr/>
              <a:t>bacardi</a:t>
            </a:fld>
            <a:endParaRPr lang="en-GB" sz="1000" b="1" dirty="0">
              <a:solidFill>
                <a:schemeClr val="tx1"/>
              </a:solidFill>
              <a:sym typeface="+mn-lt"/>
            </a:endParaRPr>
          </a:p>
        </p:txBody>
      </p:sp>
      <p:sp>
        <p:nvSpPr>
          <p:cNvPr id="31" name="Rectangle 30"/>
          <p:cNvSpPr/>
          <p:nvPr>
            <p:custDataLst>
              <p:tags r:id="rId35"/>
            </p:custDataLst>
          </p:nvPr>
        </p:nvSpPr>
        <p:spPr bwMode="gray">
          <a:xfrm>
            <a:off x="5513388" y="2100263"/>
            <a:ext cx="311150" cy="122238"/>
          </a:xfrm>
          <a:prstGeom prst="rect">
            <a:avLst/>
          </a:prstGeom>
          <a:noFill/>
          <a:ln w="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ctr"/>
          <a:lstStyle/>
          <a:p>
            <a:pPr>
              <a:spcBef>
                <a:spcPct val="0"/>
              </a:spcBef>
              <a:spcAft>
                <a:spcPct val="0"/>
              </a:spcAft>
            </a:pPr>
            <a:fld id="{F258E724-54BA-4172-9822-557DB88C5AF9}" type="datetime'''s''''''''''''''''''''ty''l''''i''s''h'''">
              <a:rPr lang="en-US" sz="800">
                <a:solidFill>
                  <a:schemeClr val="tx1"/>
                </a:solidFill>
              </a:rPr>
              <a:pPr/>
              <a:t>stylish</a:t>
            </a:fld>
            <a:endParaRPr lang="en-GB" sz="800" dirty="0">
              <a:solidFill>
                <a:schemeClr val="tx1"/>
              </a:solidFill>
              <a:sym typeface="+mn-lt"/>
            </a:endParaRPr>
          </a:p>
        </p:txBody>
      </p:sp>
      <p:sp>
        <p:nvSpPr>
          <p:cNvPr id="30" name="Rectangle 29"/>
          <p:cNvSpPr/>
          <p:nvPr>
            <p:custDataLst>
              <p:tags r:id="rId36"/>
            </p:custDataLst>
          </p:nvPr>
        </p:nvSpPr>
        <p:spPr bwMode="gray">
          <a:xfrm>
            <a:off x="5113338" y="1804988"/>
            <a:ext cx="471488" cy="122238"/>
          </a:xfrm>
          <a:prstGeom prst="rect">
            <a:avLst/>
          </a:prstGeom>
          <a:noFill/>
          <a:ln w="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ctr"/>
          <a:lstStyle/>
          <a:p>
            <a:pPr>
              <a:spcBef>
                <a:spcPct val="0"/>
              </a:spcBef>
              <a:spcAft>
                <a:spcPct val="0"/>
              </a:spcAft>
            </a:pPr>
            <a:fld id="{21686D76-E4F1-4FF2-BC24-2907862FAAB6}" type="datetime'''''''''''''''''''''''e''mot''ion''a''''''''''''''l'''''">
              <a:rPr lang="en-US" sz="800">
                <a:solidFill>
                  <a:schemeClr val="tx1"/>
                </a:solidFill>
              </a:rPr>
              <a:pPr/>
              <a:t>emotional</a:t>
            </a:fld>
            <a:endParaRPr lang="en-GB" sz="800">
              <a:solidFill>
                <a:schemeClr val="tx1"/>
              </a:solidFill>
              <a:sym typeface="+mn-lt"/>
            </a:endParaRPr>
          </a:p>
        </p:txBody>
      </p:sp>
      <p:sp useBgFill="1">
        <p:nvSpPr>
          <p:cNvPr id="29" name="Rectangle 28"/>
          <p:cNvSpPr/>
          <p:nvPr>
            <p:custDataLst>
              <p:tags r:id="rId37"/>
            </p:custDataLst>
          </p:nvPr>
        </p:nvSpPr>
        <p:spPr bwMode="gray">
          <a:xfrm>
            <a:off x="4521200" y="1382713"/>
            <a:ext cx="385763" cy="122238"/>
          </a:xfrm>
          <a:prstGeom prst="rect">
            <a:avLst/>
          </a:prstGeom>
          <a:ln w="0" cap="flat" cmpd="sng" algn="ctr">
            <a:noFill/>
            <a:prstDash val="solid"/>
          </a:ln>
          <a:effectLst/>
          <a:extLs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ctr"/>
          <a:lstStyle/>
          <a:p>
            <a:pPr algn="ctr">
              <a:spcBef>
                <a:spcPct val="0"/>
              </a:spcBef>
              <a:spcAft>
                <a:spcPct val="0"/>
              </a:spcAft>
            </a:pPr>
            <a:fld id="{EA804110-9546-423E-8660-9ADCA12EA3F8}" type="datetime'c''r''''''''''e''''''''''''a''''t''i''''''''''''''''''''ve'">
              <a:rPr lang="en-US" sz="800">
                <a:solidFill>
                  <a:schemeClr val="tx1"/>
                </a:solidFill>
              </a:rPr>
              <a:pPr algn="ctr">
                <a:spcBef>
                  <a:spcPct val="0"/>
                </a:spcBef>
                <a:spcAft>
                  <a:spcPct val="0"/>
                </a:spcAft>
              </a:pPr>
              <a:t>creative</a:t>
            </a:fld>
            <a:endParaRPr lang="en-GB" sz="800" dirty="0">
              <a:solidFill>
                <a:schemeClr val="tx1"/>
              </a:solidFill>
              <a:sym typeface="+mn-lt"/>
            </a:endParaRPr>
          </a:p>
        </p:txBody>
      </p:sp>
      <p:sp>
        <p:nvSpPr>
          <p:cNvPr id="28" name="Rectangle 27"/>
          <p:cNvSpPr/>
          <p:nvPr>
            <p:custDataLst>
              <p:tags r:id="rId38"/>
            </p:custDataLst>
          </p:nvPr>
        </p:nvSpPr>
        <p:spPr bwMode="gray">
          <a:xfrm>
            <a:off x="3405188" y="2068513"/>
            <a:ext cx="407988" cy="122238"/>
          </a:xfrm>
          <a:prstGeom prst="rect">
            <a:avLst/>
          </a:prstGeom>
          <a:noFill/>
          <a:ln w="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ctr"/>
          <a:lstStyle/>
          <a:p>
            <a:pPr>
              <a:spcBef>
                <a:spcPct val="0"/>
              </a:spcBef>
              <a:spcAft>
                <a:spcPct val="0"/>
              </a:spcAft>
            </a:pPr>
            <a:fld id="{7ECDDECA-DE09-4781-BA01-11CDBCF23756}" type="datetime'pra''''''''c''''''''''''''''''t''''''i''c''al'''''''''''">
              <a:rPr lang="en-US" sz="800">
                <a:solidFill>
                  <a:schemeClr val="tx1"/>
                </a:solidFill>
              </a:rPr>
              <a:pPr/>
              <a:t>practical</a:t>
            </a:fld>
            <a:endParaRPr lang="en-GB" sz="800">
              <a:solidFill>
                <a:schemeClr val="tx1"/>
              </a:solidFill>
              <a:sym typeface="+mn-lt"/>
            </a:endParaRPr>
          </a:p>
        </p:txBody>
      </p:sp>
      <p:sp>
        <p:nvSpPr>
          <p:cNvPr id="27" name="Rectangle 26"/>
          <p:cNvSpPr/>
          <p:nvPr>
            <p:custDataLst>
              <p:tags r:id="rId39"/>
            </p:custDataLst>
          </p:nvPr>
        </p:nvSpPr>
        <p:spPr bwMode="gray">
          <a:xfrm>
            <a:off x="3816350" y="1373188"/>
            <a:ext cx="317500" cy="122238"/>
          </a:xfrm>
          <a:prstGeom prst="rect">
            <a:avLst/>
          </a:prstGeom>
          <a:noFill/>
          <a:ln w="0" cap="flat" cmpd="sng" algn="ctr">
            <a:noFill/>
            <a:prstDash val="soli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ctr"/>
          <a:lstStyle/>
          <a:p>
            <a:pPr>
              <a:spcBef>
                <a:spcPct val="0"/>
              </a:spcBef>
              <a:spcAft>
                <a:spcPct val="0"/>
              </a:spcAft>
            </a:pPr>
            <a:fld id="{983C7FBF-642E-4FC0-913E-06D442A63379}" type="datetime'''''''''''s''''''''''''''''''''''''''e''''''l''''f''''ish'''''">
              <a:rPr lang="en-US" sz="800">
                <a:solidFill>
                  <a:schemeClr val="tx1"/>
                </a:solidFill>
              </a:rPr>
              <a:pPr/>
              <a:t>selfish</a:t>
            </a:fld>
            <a:endParaRPr lang="en-GB" sz="800" dirty="0">
              <a:solidFill>
                <a:schemeClr val="tx1"/>
              </a:solidFill>
              <a:sym typeface="+mn-lt"/>
            </a:endParaRPr>
          </a:p>
        </p:txBody>
      </p:sp>
      <p:sp>
        <p:nvSpPr>
          <p:cNvPr id="26" name="Rectangle 25"/>
          <p:cNvSpPr/>
          <p:nvPr>
            <p:custDataLst>
              <p:tags r:id="rId40"/>
            </p:custDataLst>
          </p:nvPr>
        </p:nvSpPr>
        <p:spPr bwMode="gray">
          <a:xfrm>
            <a:off x="6034088" y="2605088"/>
            <a:ext cx="339725" cy="122238"/>
          </a:xfrm>
          <a:prstGeom prst="rect">
            <a:avLst/>
          </a:prstGeom>
          <a:noFill/>
          <a:ln w="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ctr"/>
          <a:lstStyle/>
          <a:p>
            <a:pPr>
              <a:spcBef>
                <a:spcPct val="0"/>
              </a:spcBef>
              <a:spcAft>
                <a:spcPct val="0"/>
              </a:spcAft>
            </a:pPr>
            <a:fld id="{B9B641CF-1A39-4136-8EB4-70393AEBD00F}" type="datetime'''''c''''''y''''''''''''''''''''''n''i''''''''ca''l'''''''">
              <a:rPr lang="en-US" sz="800">
                <a:solidFill>
                  <a:schemeClr val="tx1"/>
                </a:solidFill>
              </a:rPr>
              <a:pPr/>
              <a:t>cynical</a:t>
            </a:fld>
            <a:endParaRPr lang="en-GB" sz="800">
              <a:solidFill>
                <a:schemeClr val="tx1"/>
              </a:solidFill>
              <a:sym typeface="+mn-lt"/>
            </a:endParaRPr>
          </a:p>
        </p:txBody>
      </p:sp>
      <p:sp useBgFill="1">
        <p:nvSpPr>
          <p:cNvPr id="25" name="Rectangle 24"/>
          <p:cNvSpPr/>
          <p:nvPr>
            <p:custDataLst>
              <p:tags r:id="rId41"/>
            </p:custDataLst>
          </p:nvPr>
        </p:nvSpPr>
        <p:spPr bwMode="gray">
          <a:xfrm>
            <a:off x="4430713" y="1966913"/>
            <a:ext cx="444500" cy="122238"/>
          </a:xfrm>
          <a:prstGeom prst="rect">
            <a:avLst/>
          </a:prstGeom>
          <a:ln w="0" cap="flat" cmpd="sng" algn="ctr">
            <a:noFill/>
            <a:prstDash val="solid"/>
          </a:ln>
          <a:effectLst/>
          <a:extLs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ctr"/>
          <a:lstStyle/>
          <a:p>
            <a:pPr>
              <a:spcBef>
                <a:spcPct val="0"/>
              </a:spcBef>
              <a:spcAft>
                <a:spcPct val="0"/>
              </a:spcAft>
            </a:pPr>
            <a:fld id="{E9E461F4-DABB-4E71-913C-F4E9299833F6}" type="datetime'''''c''''''o''''''n''''''''f''i''''''''''''d''e''''''''''''nt'">
              <a:rPr lang="en-US" sz="800">
                <a:solidFill>
                  <a:schemeClr val="tx1"/>
                </a:solidFill>
              </a:rPr>
              <a:pPr>
                <a:spcBef>
                  <a:spcPct val="0"/>
                </a:spcBef>
                <a:spcAft>
                  <a:spcPct val="0"/>
                </a:spcAft>
              </a:pPr>
              <a:t>confident</a:t>
            </a:fld>
            <a:endParaRPr lang="en-GB" sz="800" dirty="0">
              <a:solidFill>
                <a:schemeClr val="tx1"/>
              </a:solidFill>
              <a:sym typeface="+mn-lt"/>
            </a:endParaRPr>
          </a:p>
        </p:txBody>
      </p:sp>
      <p:sp>
        <p:nvSpPr>
          <p:cNvPr id="24" name="Rectangle 23"/>
          <p:cNvSpPr/>
          <p:nvPr>
            <p:custDataLst>
              <p:tags r:id="rId42"/>
            </p:custDataLst>
          </p:nvPr>
        </p:nvSpPr>
        <p:spPr bwMode="gray">
          <a:xfrm>
            <a:off x="5521325" y="1973263"/>
            <a:ext cx="573088" cy="122238"/>
          </a:xfrm>
          <a:prstGeom prst="rect">
            <a:avLst/>
          </a:prstGeom>
          <a:noFill/>
          <a:ln w="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ctr"/>
          <a:lstStyle/>
          <a:p>
            <a:pPr>
              <a:spcBef>
                <a:spcPct val="0"/>
              </a:spcBef>
              <a:spcAft>
                <a:spcPct val="0"/>
              </a:spcAft>
            </a:pPr>
            <a:fld id="{9A847AFA-10E8-4FD0-9288-12B8004B0E16}" type="datetime'''''''''''''i''''''n''''''''sp''i''rat''i''on''''''''''al'''''">
              <a:rPr lang="en-US" sz="800">
                <a:solidFill>
                  <a:schemeClr val="tx1"/>
                </a:solidFill>
              </a:rPr>
              <a:pPr/>
              <a:t>inspirational</a:t>
            </a:fld>
            <a:endParaRPr lang="en-GB" sz="800">
              <a:solidFill>
                <a:schemeClr val="tx1"/>
              </a:solidFill>
              <a:sym typeface="+mn-lt"/>
            </a:endParaRPr>
          </a:p>
        </p:txBody>
      </p:sp>
      <p:sp>
        <p:nvSpPr>
          <p:cNvPr id="23" name="Rectangle 22"/>
          <p:cNvSpPr/>
          <p:nvPr>
            <p:custDataLst>
              <p:tags r:id="rId43"/>
            </p:custDataLst>
          </p:nvPr>
        </p:nvSpPr>
        <p:spPr bwMode="gray">
          <a:xfrm>
            <a:off x="4826000" y="2135188"/>
            <a:ext cx="244475" cy="122238"/>
          </a:xfrm>
          <a:prstGeom prst="rect">
            <a:avLst/>
          </a:prstGeom>
          <a:noFill/>
          <a:ln w="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ctr"/>
          <a:lstStyle/>
          <a:p>
            <a:pPr>
              <a:spcBef>
                <a:spcPct val="0"/>
              </a:spcBef>
              <a:spcAft>
                <a:spcPct val="0"/>
              </a:spcAft>
            </a:pPr>
            <a:fld id="{330CC060-87AD-41CA-A32E-DD3E6763CE22}" type="datetime'''''t''''''''''''a''s''''''''ty'''''''''">
              <a:rPr lang="en-US" sz="800">
                <a:solidFill>
                  <a:schemeClr val="tx1"/>
                </a:solidFill>
              </a:rPr>
              <a:pPr/>
              <a:t>tasty</a:t>
            </a:fld>
            <a:endParaRPr lang="en-GB" sz="800">
              <a:solidFill>
                <a:schemeClr val="tx1"/>
              </a:solidFill>
              <a:sym typeface="+mn-lt"/>
            </a:endParaRPr>
          </a:p>
        </p:txBody>
      </p:sp>
      <p:sp useBgFill="1">
        <p:nvSpPr>
          <p:cNvPr id="22" name="Rectangle 21"/>
          <p:cNvSpPr/>
          <p:nvPr>
            <p:custDataLst>
              <p:tags r:id="rId44"/>
            </p:custDataLst>
          </p:nvPr>
        </p:nvSpPr>
        <p:spPr bwMode="gray">
          <a:xfrm>
            <a:off x="4308475" y="2320925"/>
            <a:ext cx="385763" cy="122238"/>
          </a:xfrm>
          <a:prstGeom prst="rect">
            <a:avLst/>
          </a:prstGeom>
          <a:ln w="0" cap="flat" cmpd="sng" algn="ctr">
            <a:noFill/>
            <a:prstDash val="solid"/>
          </a:ln>
          <a:effectLst/>
          <a:extLs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ctr"/>
          <a:lstStyle/>
          <a:p>
            <a:pPr algn="ctr">
              <a:spcBef>
                <a:spcPct val="0"/>
              </a:spcBef>
              <a:spcAft>
                <a:spcPct val="0"/>
              </a:spcAft>
            </a:pPr>
            <a:fld id="{0B20912E-047E-4A4A-A6CB-628777966F1B}" type="datetime'''r''''''''''ela''x''''''''''''i''''n''''g'''''''''">
              <a:rPr lang="en-US" sz="800">
                <a:solidFill>
                  <a:schemeClr val="tx1"/>
                </a:solidFill>
              </a:rPr>
              <a:pPr algn="ctr">
                <a:spcBef>
                  <a:spcPct val="0"/>
                </a:spcBef>
                <a:spcAft>
                  <a:spcPct val="0"/>
                </a:spcAft>
              </a:pPr>
              <a:t>relaxing</a:t>
            </a:fld>
            <a:endParaRPr lang="en-GB" sz="800" dirty="0">
              <a:solidFill>
                <a:schemeClr val="tx1"/>
              </a:solidFill>
              <a:sym typeface="+mn-lt"/>
            </a:endParaRPr>
          </a:p>
        </p:txBody>
      </p:sp>
      <p:sp>
        <p:nvSpPr>
          <p:cNvPr id="21" name="Rectangle 20"/>
          <p:cNvSpPr/>
          <p:nvPr>
            <p:custDataLst>
              <p:tags r:id="rId45"/>
            </p:custDataLst>
          </p:nvPr>
        </p:nvSpPr>
        <p:spPr bwMode="gray">
          <a:xfrm>
            <a:off x="7854950" y="3211513"/>
            <a:ext cx="504825" cy="122238"/>
          </a:xfrm>
          <a:prstGeom prst="rect">
            <a:avLst/>
          </a:prstGeom>
          <a:noFill/>
          <a:ln w="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ctr"/>
          <a:lstStyle/>
          <a:p>
            <a:pPr>
              <a:spcBef>
                <a:spcPct val="0"/>
              </a:spcBef>
              <a:spcAft>
                <a:spcPct val="0"/>
              </a:spcAft>
            </a:pPr>
            <a:fld id="{ACE88789-5E70-49E7-ADB9-8D032C66AEB6}" type="datetime'''''''''''c''''om''''''''f''o''r''''''''''''''ting'''''''''">
              <a:rPr lang="en-US" sz="800">
                <a:solidFill>
                  <a:schemeClr val="tx1"/>
                </a:solidFill>
              </a:rPr>
              <a:pPr/>
              <a:t>comforting</a:t>
            </a:fld>
            <a:endParaRPr lang="en-GB" sz="800" dirty="0">
              <a:solidFill>
                <a:schemeClr val="tx1"/>
              </a:solidFill>
              <a:sym typeface="+mn-lt"/>
            </a:endParaRPr>
          </a:p>
        </p:txBody>
      </p:sp>
      <p:sp>
        <p:nvSpPr>
          <p:cNvPr id="20" name="Rectangle 19"/>
          <p:cNvSpPr/>
          <p:nvPr>
            <p:custDataLst>
              <p:tags r:id="rId46"/>
            </p:custDataLst>
          </p:nvPr>
        </p:nvSpPr>
        <p:spPr bwMode="gray">
          <a:xfrm>
            <a:off x="3240088" y="1825625"/>
            <a:ext cx="482600" cy="122238"/>
          </a:xfrm>
          <a:prstGeom prst="rect">
            <a:avLst/>
          </a:prstGeom>
          <a:noFill/>
          <a:ln w="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ctr"/>
          <a:lstStyle/>
          <a:p>
            <a:pPr>
              <a:spcBef>
                <a:spcPct val="0"/>
              </a:spcBef>
              <a:spcAft>
                <a:spcPct val="0"/>
              </a:spcAft>
            </a:pPr>
            <a:fld id="{7D0A3A97-7D7E-43B2-8CD2-7D55AE995BFD}" type="datetime'''''''''r''e''f''r''e''''s''''''''h''''''''in''g'''''">
              <a:rPr lang="en-US" sz="800">
                <a:solidFill>
                  <a:schemeClr val="tx1"/>
                </a:solidFill>
                <a:sym typeface="+mn-lt"/>
              </a:rPr>
              <a:pPr>
                <a:spcBef>
                  <a:spcPct val="0"/>
                </a:spcBef>
                <a:spcAft>
                  <a:spcPct val="0"/>
                </a:spcAft>
              </a:pPr>
              <a:t>refreshing</a:t>
            </a:fld>
            <a:endParaRPr lang="en-GB" sz="800" dirty="0">
              <a:solidFill>
                <a:schemeClr val="tx1"/>
              </a:solidFill>
              <a:sym typeface="+mn-lt"/>
            </a:endParaRPr>
          </a:p>
        </p:txBody>
      </p:sp>
    </p:spTree>
    <p:extLst>
      <p:ext uri="{BB962C8B-B14F-4D97-AF65-F5344CB8AC3E}">
        <p14:creationId xmlns:p14="http://schemas.microsoft.com/office/powerpoint/2010/main" val="30726991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ELECTEDLANGUAGE" val="English UK"/>
  <p:tag name="THINKCELLPRESENTATIONDONOTDELETE" val="&lt;?xml version=&quot;1.0&quot; encoding=&quot;UTF-16&quot; standalone=&quot;yes&quot;?&gt;&#10;&lt;root reqver=&quot;21047&quot;&gt;&lt;version val=&quot;22249&quot;/&gt;&lt;CPresentation id=&quot;1&quot;&gt;&lt;m_precDefaultNumber&gt;&lt;m_chMinusSymbol&gt;-&lt;/m_chMinusSymbol&gt;&lt;m_chDecimalSymbol17909&gt;.&lt;/m_chDecimalSymbol17909&gt;&lt;m_nGroupingDigits17909 val=&quot;3&quot;/&gt;&lt;m_chGroupingSymbol17909&gt;,&lt;/m_chGroupingSymbol17909&gt;&lt;/m_precDefaultNumber&gt;&lt;m_precDefaultPercent&gt;&lt;m_chMinusSymbol&gt;-&lt;/m_chMinusSymbol&gt;&lt;m_chDecimalSymbol17909&gt;.&lt;/m_chDecimalSymbol17909&gt;&lt;m_nGroupingDigits17909 val=&quot;3&quot;/&gt;&lt;m_chGroupingSymbol17909&gt;,&lt;/m_chGroupingSymbol17909&gt;&lt;m_strSuffix17909&gt;%&lt;/m_strSuffix17909&gt;&lt;/m_precDefaultPercent&gt;&lt;m_precDefaultDate&gt;&lt;m_strFormatTime&gt;%d/%m/%Y&lt;/m_strFormatTime&gt;&lt;/m_precDefaultDate&gt;&lt;m_precDefaultYear/&gt;&lt;m_precDefaultQuarter/&gt;&lt;m_precDefaultMonth/&gt;&lt;m_precDefaultWeek/&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EtKR4cyPM0qLbJXmmPnsX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yUeU.1ZIeEy9rcis_HKvT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EJofH6ErpEmdQBbk.aMRU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P6a2gCnxmk68hK7_1TcMA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tJgf2CphpUOpSr5HLIL4.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pDnsq0hySUa4Zmfo6RiXq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7WnsDlY9dUehjKDiunJwi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o81Tl1qFK0mEuVAOWHqLX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uelUtNXK5keDZVMKbohaW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ybTLVbIZOU6GcyAlxTMpb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U6dlzlPoPEuFw..KT0zj4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7HteVaehr0SflbkUp.TWU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RwbEkkv._UWtZ4zLLd2LY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F925YqbtGUq4AN6qCEbsu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qocNbWc7GEGAOUnBy.ZSu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bwa4GLmw7Um7u9fs2rKRT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Ae0if3s6UurCr4nh2VJl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lXtcEuU60Eq4t0xyt6wq0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Cbhm2yON90uQLKrOgm4Cu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FpTULDnpLE2g9IYIYFPgA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H.m0Xx5EEWlobXEbnZJ0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0xHR2GRmCUamhiHa5OPBd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7YbQs9F1N0iT3guWaEROe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9kYNY7YNGUqdZFpYxxMJJ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3oYW9ruCoEyXU3NRZ7Ime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6PfKLLFU0Kq7JrhItY__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83H4m0rGTUGOB_oZdmpmX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DSLtMdOeRkGy8lWE5mrHI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DUt4gC7x4U2QUo3rmY4gf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5rg1ymVqfUCDZAW15oHWk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lewen5bdo0y11YQJVh_pA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t8wKa8shLkusYPYcrDOq2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JWeI1I_o7Ee6hyzZmowIk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LZAK8vW17EaxD8Sodn2in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LQObzpGQyEGqPRB81Cq5o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o0RnWmezIkCG8lzRBEV9w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2duHvOLhuUa9rHSNeTmA9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LDFDkCK5iUmKQwxMNJlIn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448DZ_wSz06j5WT7Mk3B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w2NzopDeSUiwf_yaLOLpu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kKLND.05kECKHiyDtA3f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risiTlFqwkaCbdVYMA4D7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xlJwS2cwHkmcVwfU2K19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R53copdUxUWfdU1t2ki5rA"/>
</p:tagLst>
</file>

<file path=ppt/theme/theme1.xml><?xml version="1.0" encoding="utf-8"?>
<a:theme xmlns:a="http://schemas.openxmlformats.org/drawingml/2006/main" name="Mindshare">
  <a:themeElements>
    <a:clrScheme name="Mindshare">
      <a:dk1>
        <a:srgbClr val="2D0C4B"/>
      </a:dk1>
      <a:lt1>
        <a:srgbClr val="FFFFFF"/>
      </a:lt1>
      <a:dk2>
        <a:srgbClr val="2D0C4B"/>
      </a:dk2>
      <a:lt2>
        <a:srgbClr val="C3BCAF"/>
      </a:lt2>
      <a:accent1>
        <a:srgbClr val="32ADFF"/>
      </a:accent1>
      <a:accent2>
        <a:srgbClr val="C31C68"/>
      </a:accent2>
      <a:accent3>
        <a:srgbClr val="86B144"/>
      </a:accent3>
      <a:accent4>
        <a:srgbClr val="FA0F3A"/>
      </a:accent4>
      <a:accent5>
        <a:srgbClr val="791C99"/>
      </a:accent5>
      <a:accent6>
        <a:srgbClr val="F8CD37"/>
      </a:accent6>
      <a:hlink>
        <a:srgbClr val="A3915A"/>
      </a:hlink>
      <a:folHlink>
        <a:srgbClr val="5A5A64"/>
      </a:folHlink>
    </a:clrScheme>
    <a:fontScheme name="Mindshare">
      <a:majorFont>
        <a:latin typeface="Arial"/>
        <a:ea typeface=""/>
        <a:cs typeface=""/>
      </a:majorFont>
      <a:minorFont>
        <a:latin typeface="Arial"/>
        <a:ea typeface=""/>
        <a:cs typeface=""/>
      </a:minorFont>
    </a:fontScheme>
    <a:fmtScheme name="MindShare">
      <a:fillStyleLst>
        <a:solidFill>
          <a:schemeClr val="phClr"/>
        </a:solidFill>
        <a:gradFill rotWithShape="1">
          <a:gsLst>
            <a:gs pos="0">
              <a:schemeClr val="phClr">
                <a:shade val="60000"/>
                <a:satMod val="115000"/>
              </a:schemeClr>
            </a:gs>
            <a:gs pos="71000">
              <a:schemeClr val="phClr">
                <a:tint val="100000"/>
                <a:satMod val="115000"/>
              </a:schemeClr>
            </a:gs>
            <a:gs pos="100000">
              <a:schemeClr val="phClr">
                <a:tint val="85000"/>
                <a:satMod val="115000"/>
              </a:schemeClr>
            </a:gs>
          </a:gsLst>
          <a:lin ang="16200000" scaled="1"/>
        </a:gradFill>
        <a:gradFill rotWithShape="1">
          <a:gsLst>
            <a:gs pos="0">
              <a:schemeClr val="phClr">
                <a:tint val="100000"/>
                <a:satMod val="150000"/>
              </a:schemeClr>
            </a:gs>
            <a:gs pos="100000">
              <a:schemeClr val="phClr">
                <a:shade val="40000"/>
                <a:satMod val="135000"/>
              </a:schemeClr>
            </a:gs>
          </a:gsLst>
          <a:lin ang="5400000" scaled="0"/>
        </a:gradFill>
      </a:fillStyleLst>
      <a:lnStyleLst>
        <a:ln w="12700" cap="flat" cmpd="sng" algn="ctr">
          <a:solidFill>
            <a:schemeClr val="phClr">
              <a:shade val="95000"/>
              <a:satMod val="105000"/>
            </a:schemeClr>
          </a:solidFill>
          <a:prstDash val="solid"/>
        </a:ln>
        <a:ln w="0"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127000" dir="5400000" sx="102000" sy="102000" algn="ctr" rotWithShape="0">
              <a:srgbClr val="000000">
                <a:alpha val="50000"/>
              </a:srgbClr>
            </a:outerShdw>
          </a:effectLst>
        </a:effectStyle>
        <a:effectStyle>
          <a:effectLst>
            <a:innerShdw blurRad="50800" dist="25400">
              <a:srgbClr val="2A0C4B">
                <a:alpha val="50000"/>
              </a:srgbClr>
            </a:innerShdw>
          </a:effectLst>
          <a:scene3d>
            <a:camera prst="orthographicFront">
              <a:rot lat="0" lon="0" rev="0"/>
            </a:camera>
            <a:lightRig rig="soft" dir="t">
              <a:rot lat="0" lon="0" rev="20100000"/>
            </a:lightRig>
          </a:scene3d>
          <a:sp3d>
            <a:bevelT w="25400" h="25400"/>
          </a:sp3d>
        </a:effectStyle>
      </a:effectStyleLst>
      <a:bgFillStyleLst>
        <a:solidFill>
          <a:schemeClr val="phClr"/>
        </a:solidFill>
        <a:gradFill rotWithShape="1">
          <a:gsLst>
            <a:gs pos="0">
              <a:srgbClr val="2D0C4B"/>
            </a:gs>
            <a:gs pos="53000">
              <a:srgbClr val="431161"/>
            </a:gs>
            <a:gs pos="100000">
              <a:srgbClr val="731B91"/>
            </a:gs>
          </a:gsLst>
          <a:lin ang="3096000" scaled="0"/>
        </a:gradFill>
        <a:gradFill rotWithShape="1">
          <a:gsLst>
            <a:gs pos="0">
              <a:srgbClr val="2D0C4B"/>
            </a:gs>
            <a:gs pos="66000">
              <a:srgbClr val="36218B"/>
            </a:gs>
            <a:gs pos="100000">
              <a:srgbClr val="3F37CF"/>
            </a:gs>
          </a:gsLst>
          <a:lin ang="3096000" scaled="0"/>
        </a:gradFill>
      </a:bgFillStyleLst>
    </a:fmtScheme>
  </a:themeElements>
  <a:objectDefaults/>
  <a:extraClrSchemeLst/>
</a:theme>
</file>

<file path=ppt/theme/theme2.xml><?xml version="1.0" encoding="utf-8"?>
<a:theme xmlns:a="http://schemas.openxmlformats.org/drawingml/2006/main" name="Office Theme">
  <a:themeElements>
    <a:clrScheme name="Mindshare">
      <a:dk1>
        <a:srgbClr val="2D0C4B"/>
      </a:dk1>
      <a:lt1>
        <a:srgbClr val="FFFFFF"/>
      </a:lt1>
      <a:dk2>
        <a:srgbClr val="2D0C4B"/>
      </a:dk2>
      <a:lt2>
        <a:srgbClr val="C3BCAF"/>
      </a:lt2>
      <a:accent1>
        <a:srgbClr val="32ADFF"/>
      </a:accent1>
      <a:accent2>
        <a:srgbClr val="C31C68"/>
      </a:accent2>
      <a:accent3>
        <a:srgbClr val="86B144"/>
      </a:accent3>
      <a:accent4>
        <a:srgbClr val="FA0F3A"/>
      </a:accent4>
      <a:accent5>
        <a:srgbClr val="791C99"/>
      </a:accent5>
      <a:accent6>
        <a:srgbClr val="F8CD37"/>
      </a:accent6>
      <a:hlink>
        <a:srgbClr val="A3915A"/>
      </a:hlink>
      <a:folHlink>
        <a:srgbClr val="5A5A64"/>
      </a:folHlink>
    </a:clrScheme>
    <a:fontScheme name="MindShare">
      <a:majorFont>
        <a:latin typeface="Arial"/>
        <a:ea typeface=""/>
        <a:cs typeface=""/>
      </a:majorFont>
      <a:minorFont>
        <a:latin typeface="Arial"/>
        <a:ea typeface=""/>
        <a:cs typeface=""/>
      </a:minorFont>
    </a:fontScheme>
    <a:fmtScheme name="MindShare">
      <a:fillStyleLst>
        <a:solidFill>
          <a:schemeClr val="phClr"/>
        </a:solidFill>
        <a:gradFill rotWithShape="1">
          <a:gsLst>
            <a:gs pos="0">
              <a:schemeClr val="phClr">
                <a:shade val="60000"/>
                <a:satMod val="115000"/>
              </a:schemeClr>
            </a:gs>
            <a:gs pos="71000">
              <a:schemeClr val="phClr">
                <a:tint val="100000"/>
                <a:satMod val="115000"/>
              </a:schemeClr>
            </a:gs>
            <a:gs pos="100000">
              <a:schemeClr val="phClr">
                <a:tint val="85000"/>
                <a:satMod val="115000"/>
              </a:schemeClr>
            </a:gs>
          </a:gsLst>
          <a:lin ang="16200000" scaled="1"/>
        </a:gradFill>
        <a:gradFill rotWithShape="1">
          <a:gsLst>
            <a:gs pos="0">
              <a:schemeClr val="phClr">
                <a:tint val="100000"/>
                <a:satMod val="150000"/>
              </a:schemeClr>
            </a:gs>
            <a:gs pos="100000">
              <a:schemeClr val="phClr">
                <a:shade val="40000"/>
                <a:satMod val="135000"/>
              </a:schemeClr>
            </a:gs>
          </a:gsLst>
          <a:lin ang="5400000" scaled="0"/>
        </a:gradFill>
      </a:fillStyleLst>
      <a:lnStyleLst>
        <a:ln w="12700" cap="flat" cmpd="sng" algn="ctr">
          <a:solidFill>
            <a:schemeClr val="phClr">
              <a:shade val="95000"/>
              <a:satMod val="105000"/>
            </a:schemeClr>
          </a:solidFill>
          <a:prstDash val="solid"/>
        </a:ln>
        <a:ln w="0"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127000" dir="5400000" sx="102000" sy="102000" algn="ctr" rotWithShape="0">
              <a:srgbClr val="000000">
                <a:alpha val="50000"/>
              </a:srgbClr>
            </a:outerShdw>
          </a:effectLst>
        </a:effectStyle>
        <a:effectStyle>
          <a:effectLst>
            <a:innerShdw blurRad="50800" dist="25400">
              <a:srgbClr val="2A0C4B">
                <a:alpha val="50000"/>
              </a:srgbClr>
            </a:innerShdw>
          </a:effectLst>
          <a:scene3d>
            <a:camera prst="orthographicFront">
              <a:rot lat="0" lon="0" rev="0"/>
            </a:camera>
            <a:lightRig rig="soft" dir="t">
              <a:rot lat="0" lon="0" rev="20100000"/>
            </a:lightRig>
          </a:scene3d>
          <a:sp3d>
            <a:bevelT w="254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Mindshare">
      <a:dk1>
        <a:srgbClr val="2D0C4B"/>
      </a:dk1>
      <a:lt1>
        <a:srgbClr val="FFFFFF"/>
      </a:lt1>
      <a:dk2>
        <a:srgbClr val="2D0C4B"/>
      </a:dk2>
      <a:lt2>
        <a:srgbClr val="C3BCAF"/>
      </a:lt2>
      <a:accent1>
        <a:srgbClr val="32ADFF"/>
      </a:accent1>
      <a:accent2>
        <a:srgbClr val="C31C68"/>
      </a:accent2>
      <a:accent3>
        <a:srgbClr val="86B144"/>
      </a:accent3>
      <a:accent4>
        <a:srgbClr val="FA0F3A"/>
      </a:accent4>
      <a:accent5>
        <a:srgbClr val="791C99"/>
      </a:accent5>
      <a:accent6>
        <a:srgbClr val="F8CD37"/>
      </a:accent6>
      <a:hlink>
        <a:srgbClr val="A3915A"/>
      </a:hlink>
      <a:folHlink>
        <a:srgbClr val="5A5A64"/>
      </a:folHlink>
    </a:clrScheme>
    <a:fontScheme name="Mindshare">
      <a:majorFont>
        <a:latin typeface="Arial"/>
        <a:ea typeface=""/>
        <a:cs typeface=""/>
      </a:majorFont>
      <a:minorFont>
        <a:latin typeface="Arial"/>
        <a:ea typeface=""/>
        <a:cs typeface=""/>
      </a:minorFont>
    </a:fontScheme>
    <a:fmtScheme name="MindShare">
      <a:fillStyleLst>
        <a:solidFill>
          <a:schemeClr val="phClr"/>
        </a:solidFill>
        <a:gradFill rotWithShape="1">
          <a:gsLst>
            <a:gs pos="0">
              <a:schemeClr val="phClr">
                <a:shade val="60000"/>
                <a:satMod val="115000"/>
              </a:schemeClr>
            </a:gs>
            <a:gs pos="71000">
              <a:schemeClr val="phClr">
                <a:tint val="100000"/>
                <a:satMod val="115000"/>
              </a:schemeClr>
            </a:gs>
            <a:gs pos="100000">
              <a:schemeClr val="phClr">
                <a:tint val="85000"/>
                <a:satMod val="115000"/>
              </a:schemeClr>
            </a:gs>
          </a:gsLst>
          <a:lin ang="16200000" scaled="1"/>
        </a:gradFill>
        <a:gradFill rotWithShape="1">
          <a:gsLst>
            <a:gs pos="0">
              <a:schemeClr val="phClr">
                <a:tint val="100000"/>
                <a:satMod val="150000"/>
              </a:schemeClr>
            </a:gs>
            <a:gs pos="100000">
              <a:schemeClr val="phClr">
                <a:shade val="40000"/>
                <a:satMod val="135000"/>
              </a:schemeClr>
            </a:gs>
          </a:gsLst>
          <a:lin ang="5400000" scaled="0"/>
        </a:gradFill>
      </a:fillStyleLst>
      <a:lnStyleLst>
        <a:ln w="12700" cap="flat" cmpd="sng" algn="ctr">
          <a:solidFill>
            <a:schemeClr val="phClr">
              <a:shade val="95000"/>
              <a:satMod val="105000"/>
            </a:schemeClr>
          </a:solidFill>
          <a:prstDash val="solid"/>
        </a:ln>
        <a:ln w="0"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127000" dir="5400000" sx="102000" sy="102000" algn="ctr" rotWithShape="0">
              <a:srgbClr val="000000">
                <a:alpha val="50000"/>
              </a:srgbClr>
            </a:outerShdw>
          </a:effectLst>
        </a:effectStyle>
        <a:effectStyle>
          <a:effectLst>
            <a:innerShdw blurRad="50800" dist="25400">
              <a:srgbClr val="2A0C4B">
                <a:alpha val="50000"/>
              </a:srgbClr>
            </a:innerShdw>
          </a:effectLst>
          <a:scene3d>
            <a:camera prst="orthographicFront">
              <a:rot lat="0" lon="0" rev="0"/>
            </a:camera>
            <a:lightRig rig="soft" dir="t">
              <a:rot lat="0" lon="0" rev="20100000"/>
            </a:lightRig>
          </a:scene3d>
          <a:sp3d>
            <a:bevelT w="254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738</TotalTime>
  <Words>44</Words>
  <Application>Microsoft Office PowerPoint</Application>
  <PresentationFormat>On-screen Show (16:9)</PresentationFormat>
  <Paragraphs>33</Paragraphs>
  <Slides>1</Slides>
  <Notes>0</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1</vt:i4>
      </vt:variant>
    </vt:vector>
  </HeadingPairs>
  <TitlesOfParts>
    <vt:vector size="4" baseType="lpstr">
      <vt:lpstr>Mindshare</vt:lpstr>
      <vt:lpstr>think-cell Slide</vt:lpstr>
      <vt:lpstr>Microsoft Graph Chart</vt:lpstr>
      <vt:lpstr>Bacardi vs. Competitors, in the social landscape </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phanie Krieger</dc:creator>
  <cp:lastModifiedBy>Leonardo Reyes</cp:lastModifiedBy>
  <cp:revision>369</cp:revision>
  <cp:lastPrinted>2011-09-05T18:35:15Z</cp:lastPrinted>
  <dcterms:created xsi:type="dcterms:W3CDTF">2011-08-02T20:46:27Z</dcterms:created>
  <dcterms:modified xsi:type="dcterms:W3CDTF">2014-02-17T12:07: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DS169">
    <vt:bool>true</vt:bool>
  </property>
</Properties>
</file>